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slideLayouts/slideLayout8.xml" ContentType="application/vnd.openxmlformats-officedocument.presentationml.slideLayout+xml"/>
  <Override PartName="/ppt/theme/theme5.xml" ContentType="application/vnd.openxmlformats-officedocument.them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png" ContentType="image/png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Layouts/slideLayout5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Default Extension="emf" ContentType="image/x-emf"/>
  <Override PartName="/ppt/slideLayouts/slideLayout16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3" r:id="rId1"/>
    <p:sldMasterId id="2147483665" r:id="rId2"/>
    <p:sldMasterId id="2147483648" r:id="rId3"/>
  </p:sldMasterIdLst>
  <p:notesMasterIdLst>
    <p:notesMasterId r:id="rId25"/>
  </p:notesMasterIdLst>
  <p:handoutMasterIdLst>
    <p:handoutMasterId r:id="rId26"/>
  </p:handoutMasterIdLst>
  <p:sldIdLst>
    <p:sldId id="301" r:id="rId4"/>
    <p:sldId id="256" r:id="rId5"/>
    <p:sldId id="300" r:id="rId6"/>
    <p:sldId id="285" r:id="rId7"/>
    <p:sldId id="303" r:id="rId8"/>
    <p:sldId id="274" r:id="rId9"/>
    <p:sldId id="264" r:id="rId10"/>
    <p:sldId id="269" r:id="rId11"/>
    <p:sldId id="316" r:id="rId12"/>
    <p:sldId id="304" r:id="rId13"/>
    <p:sldId id="305" r:id="rId14"/>
    <p:sldId id="306" r:id="rId15"/>
    <p:sldId id="307" r:id="rId16"/>
    <p:sldId id="308" r:id="rId17"/>
    <p:sldId id="309" r:id="rId18"/>
    <p:sldId id="310" r:id="rId19"/>
    <p:sldId id="311" r:id="rId20"/>
    <p:sldId id="312" r:id="rId21"/>
    <p:sldId id="313" r:id="rId22"/>
    <p:sldId id="314" r:id="rId23"/>
    <p:sldId id="315" r:id="rId2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32D2D"/>
    <a:srgbClr val="2D6BB5"/>
    <a:srgbClr val="F0F0F0"/>
    <a:srgbClr val="D7D0CB"/>
    <a:srgbClr val="B5A69D"/>
    <a:srgbClr val="C4AC92"/>
    <a:srgbClr val="EFA95B"/>
    <a:srgbClr val="DBE6C4"/>
    <a:srgbClr val="D3E1C1"/>
    <a:srgbClr val="CB5555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 autoAdjust="0"/>
    <p:restoredTop sz="92746" autoAdjust="0"/>
  </p:normalViewPr>
  <p:slideViewPr>
    <p:cSldViewPr showGuides="1">
      <p:cViewPr varScale="1">
        <p:scale>
          <a:sx n="58" d="100"/>
          <a:sy n="58" d="100"/>
        </p:scale>
        <p:origin x="-762" y="-90"/>
      </p:cViewPr>
      <p:guideLst>
        <p:guide orient="horz"/>
        <p:guide pos="1776"/>
        <p:guide pos="5424"/>
        <p:guide pos="1379"/>
        <p:guide pos="19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A650A3-FE0A-45C3-A7E5-093A4E158B49}" type="datetimeFigureOut">
              <a:rPr lang="en-US" smtClean="0"/>
              <a:pPr/>
              <a:t>8/24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2828D8-E545-4F18-83C9-48BA590FABC9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9AD473-F320-410E-B15F-3CDD7850904E}" type="datetimeFigureOut">
              <a:rPr lang="en-US" smtClean="0"/>
              <a:pPr/>
              <a:t>8/24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FDBA23-C525-4E8B-8E28-1FA1D1873380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.xml"/><Relationship Id="rId7" Type="http://schemas.openxmlformats.org/officeDocument/2006/relationships/image" Target="../media/image1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Master" Target="../slideMasters/slideMaster2.xml"/><Relationship Id="rId11" Type="http://schemas.openxmlformats.org/officeDocument/2006/relationships/image" Target="../media/image5.jpeg"/><Relationship Id="rId5" Type="http://schemas.openxmlformats.org/officeDocument/2006/relationships/tags" Target="../tags/tag5.xml"/><Relationship Id="rId10" Type="http://schemas.openxmlformats.org/officeDocument/2006/relationships/image" Target="../media/image4.jpeg"/><Relationship Id="rId4" Type="http://schemas.openxmlformats.org/officeDocument/2006/relationships/tags" Target="../tags/tag4.xml"/><Relationship Id="rId9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image &amp; 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itle 1"/>
          <p:cNvSpPr>
            <a:spLocks noGrp="1"/>
          </p:cNvSpPr>
          <p:nvPr>
            <p:ph type="ctrTitle"/>
          </p:nvPr>
        </p:nvSpPr>
        <p:spPr>
          <a:xfrm>
            <a:off x="193962" y="925392"/>
            <a:ext cx="2073751" cy="457200"/>
          </a:xfrm>
          <a:prstGeom prst="rect">
            <a:avLst/>
          </a:prstGeom>
          <a:noFill/>
        </p:spPr>
        <p:txBody>
          <a:bodyPr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1450" kern="1200" dirty="0">
                <a:solidFill>
                  <a:srgbClr val="24274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1" name="Subtitle 2"/>
          <p:cNvSpPr>
            <a:spLocks noGrp="1"/>
          </p:cNvSpPr>
          <p:nvPr>
            <p:ph type="subTitle" idx="1"/>
          </p:nvPr>
        </p:nvSpPr>
        <p:spPr>
          <a:xfrm>
            <a:off x="2871090" y="1286163"/>
            <a:ext cx="5705983" cy="38100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rgbClr val="242748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7" name="Content Placeholder 25"/>
          <p:cNvSpPr>
            <a:spLocks noGrp="1"/>
          </p:cNvSpPr>
          <p:nvPr>
            <p:ph sz="quarter" idx="19" hasCustomPrompt="1"/>
          </p:nvPr>
        </p:nvSpPr>
        <p:spPr>
          <a:xfrm>
            <a:off x="2867026" y="1676399"/>
            <a:ext cx="2847975" cy="2362200"/>
          </a:xfrm>
          <a:prstGeom prst="rect">
            <a:avLst/>
          </a:prstGeom>
          <a:solidFill>
            <a:srgbClr val="DBE6C4"/>
          </a:solidFill>
        </p:spPr>
        <p:txBody>
          <a:bodyPr anchor="b" anchorCtr="1">
            <a:noAutofit/>
          </a:bodyPr>
          <a:lstStyle>
            <a:lvl1pPr algn="l">
              <a:buNone/>
              <a:defRPr lang="en-US" sz="12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342900" lvl="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Insert Object</a:t>
            </a:r>
            <a:endParaRPr lang="en-US" dirty="0"/>
          </a:p>
        </p:txBody>
      </p:sp>
      <p:sp>
        <p:nvSpPr>
          <p:cNvPr id="28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152402" y="1403985"/>
            <a:ext cx="2171700" cy="1285875"/>
          </a:xfrm>
          <a:prstGeom prst="rect">
            <a:avLst/>
          </a:prstGeom>
          <a:solidFill>
            <a:srgbClr val="DBE6C4"/>
          </a:solidFill>
        </p:spPr>
        <p:txBody>
          <a:bodyPr anchor="b" anchorCtr="1">
            <a:noAutofit/>
          </a:bodyPr>
          <a:lstStyle>
            <a:lvl1pPr algn="l">
              <a:buNone/>
              <a:defRPr lang="en-US" sz="12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342900" lvl="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Insert Object</a:t>
            </a:r>
            <a:endParaRPr lang="en-US" dirty="0"/>
          </a:p>
        </p:txBody>
      </p:sp>
      <p:sp>
        <p:nvSpPr>
          <p:cNvPr id="32" name="Table Placeholder 33"/>
          <p:cNvSpPr>
            <a:spLocks noGrp="1"/>
          </p:cNvSpPr>
          <p:nvPr>
            <p:ph type="tbl" sz="quarter" idx="27"/>
          </p:nvPr>
        </p:nvSpPr>
        <p:spPr>
          <a:xfrm>
            <a:off x="5743575" y="4343399"/>
            <a:ext cx="2819400" cy="1133475"/>
          </a:xfrm>
          <a:prstGeom prst="rect">
            <a:avLst/>
          </a:prstGeom>
        </p:spPr>
        <p:txBody>
          <a:bodyPr anchor="b" anchorCtr="1"/>
          <a:lstStyle>
            <a:lvl1pPr marL="1143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2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33" name="Table Placeholder 33"/>
          <p:cNvSpPr>
            <a:spLocks noGrp="1"/>
          </p:cNvSpPr>
          <p:nvPr>
            <p:ph type="tbl" sz="quarter" idx="30"/>
          </p:nvPr>
        </p:nvSpPr>
        <p:spPr>
          <a:xfrm>
            <a:off x="304802" y="4371973"/>
            <a:ext cx="1866900" cy="2105026"/>
          </a:xfrm>
          <a:prstGeom prst="rect">
            <a:avLst/>
          </a:prstGeom>
        </p:spPr>
        <p:txBody>
          <a:bodyPr anchor="b" anchorCtr="1"/>
          <a:lstStyle>
            <a:lvl1pPr marL="1143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2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26" name="Text Placeholder 45"/>
          <p:cNvSpPr>
            <a:spLocks noGrp="1"/>
          </p:cNvSpPr>
          <p:nvPr>
            <p:ph type="body" sz="quarter" idx="17" hasCustomPrompt="1"/>
          </p:nvPr>
        </p:nvSpPr>
        <p:spPr>
          <a:xfrm>
            <a:off x="301752" y="2724150"/>
            <a:ext cx="1865376" cy="1524000"/>
          </a:xfrm>
          <a:prstGeom prst="rect">
            <a:avLst/>
          </a:prstGeom>
        </p:spPr>
        <p:txBody>
          <a:bodyPr/>
          <a:lstStyle>
            <a:lvl1pPr marL="119063" indent="-119063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0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28600" indent="-109538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9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3429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900" kern="12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H2</a:t>
            </a:r>
          </a:p>
          <a:p>
            <a:pPr lvl="1"/>
            <a:r>
              <a:rPr lang="en-US" dirty="0" smtClean="0"/>
              <a:t>Paragraph text</a:t>
            </a:r>
          </a:p>
          <a:p>
            <a:pPr lvl="2"/>
            <a:r>
              <a:rPr lang="en-US" dirty="0" smtClean="0"/>
              <a:t>Bullet text</a:t>
            </a:r>
            <a:endParaRPr lang="en-US" dirty="0"/>
          </a:p>
        </p:txBody>
      </p:sp>
      <p:sp>
        <p:nvSpPr>
          <p:cNvPr id="31" name="Text Placeholder 45"/>
          <p:cNvSpPr>
            <a:spLocks noGrp="1"/>
          </p:cNvSpPr>
          <p:nvPr>
            <p:ph type="body" sz="quarter" idx="31" hasCustomPrompt="1"/>
          </p:nvPr>
        </p:nvSpPr>
        <p:spPr>
          <a:xfrm>
            <a:off x="5757291" y="1676399"/>
            <a:ext cx="2815209" cy="2352675"/>
          </a:xfrm>
          <a:prstGeom prst="rect">
            <a:avLst/>
          </a:prstGeom>
        </p:spPr>
        <p:txBody>
          <a:bodyPr/>
          <a:lstStyle>
            <a:lvl1pPr marL="119063" indent="-119063">
              <a:defRPr sz="1100"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28600" indent="-109538">
              <a:defRPr sz="1000" baseline="0"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342900" indent="-114300">
              <a:defRPr sz="1000"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H2</a:t>
            </a:r>
          </a:p>
          <a:p>
            <a:pPr lvl="1"/>
            <a:r>
              <a:rPr lang="en-US" dirty="0" smtClean="0"/>
              <a:t>Paragraph text</a:t>
            </a:r>
          </a:p>
          <a:p>
            <a:pPr lvl="2"/>
            <a:r>
              <a:rPr lang="en-US" dirty="0" smtClean="0"/>
              <a:t>Bullet  text</a:t>
            </a:r>
            <a:endParaRPr lang="en-US" dirty="0"/>
          </a:p>
        </p:txBody>
      </p:sp>
      <p:grpSp>
        <p:nvGrpSpPr>
          <p:cNvPr id="34" name="Group 72"/>
          <p:cNvGrpSpPr/>
          <p:nvPr userDrawn="1"/>
        </p:nvGrpSpPr>
        <p:grpSpPr>
          <a:xfrm>
            <a:off x="140852" y="554828"/>
            <a:ext cx="8826701" cy="724418"/>
            <a:chOff x="140852" y="923636"/>
            <a:chExt cx="8826701" cy="724418"/>
          </a:xfrm>
        </p:grpSpPr>
        <p:grpSp>
          <p:nvGrpSpPr>
            <p:cNvPr id="35" name="Group 12"/>
            <p:cNvGrpSpPr/>
            <p:nvPr/>
          </p:nvGrpSpPr>
          <p:grpSpPr>
            <a:xfrm>
              <a:off x="2459187" y="1282395"/>
              <a:ext cx="6508366" cy="365659"/>
              <a:chOff x="-1" y="711412"/>
              <a:chExt cx="9153525" cy="514273"/>
            </a:xfrm>
          </p:grpSpPr>
          <p:sp>
            <p:nvSpPr>
              <p:cNvPr id="42" name="Flowchart: Process 41"/>
              <p:cNvSpPr/>
              <p:nvPr/>
            </p:nvSpPr>
            <p:spPr>
              <a:xfrm>
                <a:off x="-1" y="771525"/>
                <a:ext cx="9153525" cy="454160"/>
              </a:xfrm>
              <a:prstGeom prst="flowChartProcess">
                <a:avLst/>
              </a:prstGeom>
              <a:solidFill>
                <a:srgbClr val="585874"/>
              </a:solidFill>
              <a:ln>
                <a:noFill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algn="ctr" defTabSz="914400" rtl="0" eaLnBrk="1" latinLnBrk="0" hangingPunct="1"/>
                <a:endParaRPr lang="en-US" sz="2600" b="1" kern="1200" dirty="0">
                  <a:solidFill>
                    <a:schemeClr val="dk1"/>
                  </a:solidFill>
                  <a:latin typeface="Trebuchet MS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43" name="Group 19"/>
              <p:cNvGrpSpPr/>
              <p:nvPr/>
            </p:nvGrpSpPr>
            <p:grpSpPr>
              <a:xfrm>
                <a:off x="188844" y="890429"/>
                <a:ext cx="273844" cy="216511"/>
                <a:chOff x="377952" y="1463835"/>
                <a:chExt cx="273844" cy="216511"/>
              </a:xfrm>
            </p:grpSpPr>
            <p:sp>
              <p:nvSpPr>
                <p:cNvPr id="45" name="Rectangle 44"/>
                <p:cNvSpPr/>
                <p:nvPr/>
              </p:nvSpPr>
              <p:spPr>
                <a:xfrm>
                  <a:off x="377952" y="1463835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Rectangle 47"/>
                <p:cNvSpPr/>
                <p:nvPr/>
              </p:nvSpPr>
              <p:spPr>
                <a:xfrm>
                  <a:off x="377952" y="1549231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9" name="Rectangle 48"/>
                <p:cNvSpPr/>
                <p:nvPr/>
              </p:nvSpPr>
              <p:spPr>
                <a:xfrm>
                  <a:off x="377952" y="1634627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44" name="Freeform 43"/>
              <p:cNvSpPr/>
              <p:nvPr/>
            </p:nvSpPr>
            <p:spPr>
              <a:xfrm>
                <a:off x="534850" y="711412"/>
                <a:ext cx="461548" cy="226958"/>
              </a:xfrm>
              <a:custGeom>
                <a:avLst/>
                <a:gdLst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831715"/>
                  <a:gd name="connsiteY0" fmla="*/ 0 h 330741"/>
                  <a:gd name="connsiteX1" fmla="*/ 398834 w 831715"/>
                  <a:gd name="connsiteY1" fmla="*/ 330741 h 330741"/>
                  <a:gd name="connsiteX2" fmla="*/ 831715 w 831715"/>
                  <a:gd name="connsiteY2" fmla="*/ 4864 h 330741"/>
                  <a:gd name="connsiteX3" fmla="*/ 0 w 831715"/>
                  <a:gd name="connsiteY3" fmla="*/ 0 h 330741"/>
                  <a:gd name="connsiteX0" fmla="*/ 0 w 831715"/>
                  <a:gd name="connsiteY0" fmla="*/ 1469 h 332210"/>
                  <a:gd name="connsiteX1" fmla="*/ 398834 w 831715"/>
                  <a:gd name="connsiteY1" fmla="*/ 332210 h 332210"/>
                  <a:gd name="connsiteX2" fmla="*/ 831715 w 831715"/>
                  <a:gd name="connsiteY2" fmla="*/ 6333 h 332210"/>
                  <a:gd name="connsiteX3" fmla="*/ 0 w 831715"/>
                  <a:gd name="connsiteY3" fmla="*/ 1469 h 332210"/>
                  <a:gd name="connsiteX0" fmla="*/ 0 w 831715"/>
                  <a:gd name="connsiteY0" fmla="*/ 1469 h 332210"/>
                  <a:gd name="connsiteX1" fmla="*/ 411830 w 831715"/>
                  <a:gd name="connsiteY1" fmla="*/ 332210 h 332210"/>
                  <a:gd name="connsiteX2" fmla="*/ 831715 w 831715"/>
                  <a:gd name="connsiteY2" fmla="*/ 6333 h 332210"/>
                  <a:gd name="connsiteX3" fmla="*/ 0 w 831715"/>
                  <a:gd name="connsiteY3" fmla="*/ 1469 h 332210"/>
                  <a:gd name="connsiteX0" fmla="*/ 0 w 831715"/>
                  <a:gd name="connsiteY0" fmla="*/ 144420 h 475161"/>
                  <a:gd name="connsiteX1" fmla="*/ 411830 w 831715"/>
                  <a:gd name="connsiteY1" fmla="*/ 475161 h 475161"/>
                  <a:gd name="connsiteX2" fmla="*/ 831715 w 831715"/>
                  <a:gd name="connsiteY2" fmla="*/ 149284 h 475161"/>
                  <a:gd name="connsiteX3" fmla="*/ 667106 w 831715"/>
                  <a:gd name="connsiteY3" fmla="*/ 0 h 475161"/>
                  <a:gd name="connsiteX4" fmla="*/ 0 w 831715"/>
                  <a:gd name="connsiteY4" fmla="*/ 144420 h 475161"/>
                  <a:gd name="connsiteX0" fmla="*/ 0 w 831715"/>
                  <a:gd name="connsiteY0" fmla="*/ 144420 h 475161"/>
                  <a:gd name="connsiteX1" fmla="*/ 411830 w 831715"/>
                  <a:gd name="connsiteY1" fmla="*/ 475161 h 475161"/>
                  <a:gd name="connsiteX2" fmla="*/ 831715 w 831715"/>
                  <a:gd name="connsiteY2" fmla="*/ 149284 h 475161"/>
                  <a:gd name="connsiteX3" fmla="*/ 667106 w 831715"/>
                  <a:gd name="connsiteY3" fmla="*/ 0 h 475161"/>
                  <a:gd name="connsiteX4" fmla="*/ 4331 w 831715"/>
                  <a:gd name="connsiteY4" fmla="*/ 8665 h 475161"/>
                  <a:gd name="connsiteX5" fmla="*/ 0 w 831715"/>
                  <a:gd name="connsiteY5" fmla="*/ 144420 h 475161"/>
                  <a:gd name="connsiteX0" fmla="*/ 0 w 831715"/>
                  <a:gd name="connsiteY0" fmla="*/ 140087 h 470828"/>
                  <a:gd name="connsiteX1" fmla="*/ 411830 w 831715"/>
                  <a:gd name="connsiteY1" fmla="*/ 470828 h 470828"/>
                  <a:gd name="connsiteX2" fmla="*/ 831715 w 831715"/>
                  <a:gd name="connsiteY2" fmla="*/ 144951 h 470828"/>
                  <a:gd name="connsiteX3" fmla="*/ 831715 w 831715"/>
                  <a:gd name="connsiteY3" fmla="*/ 0 h 470828"/>
                  <a:gd name="connsiteX4" fmla="*/ 4331 w 831715"/>
                  <a:gd name="connsiteY4" fmla="*/ 4332 h 470828"/>
                  <a:gd name="connsiteX5" fmla="*/ 0 w 831715"/>
                  <a:gd name="connsiteY5" fmla="*/ 140087 h 470828"/>
                  <a:gd name="connsiteX0" fmla="*/ 0 w 831715"/>
                  <a:gd name="connsiteY0" fmla="*/ 135755 h 466496"/>
                  <a:gd name="connsiteX1" fmla="*/ 411830 w 831715"/>
                  <a:gd name="connsiteY1" fmla="*/ 466496 h 466496"/>
                  <a:gd name="connsiteX2" fmla="*/ 831715 w 831715"/>
                  <a:gd name="connsiteY2" fmla="*/ 140619 h 466496"/>
                  <a:gd name="connsiteX3" fmla="*/ 728459 w 831715"/>
                  <a:gd name="connsiteY3" fmla="*/ 55708 h 466496"/>
                  <a:gd name="connsiteX4" fmla="*/ 4331 w 831715"/>
                  <a:gd name="connsiteY4" fmla="*/ 0 h 466496"/>
                  <a:gd name="connsiteX5" fmla="*/ 0 w 831715"/>
                  <a:gd name="connsiteY5" fmla="*/ 135755 h 466496"/>
                  <a:gd name="connsiteX0" fmla="*/ 0 w 831715"/>
                  <a:gd name="connsiteY0" fmla="*/ 82129 h 412870"/>
                  <a:gd name="connsiteX1" fmla="*/ 411830 w 831715"/>
                  <a:gd name="connsiteY1" fmla="*/ 412870 h 412870"/>
                  <a:gd name="connsiteX2" fmla="*/ 831715 w 831715"/>
                  <a:gd name="connsiteY2" fmla="*/ 86993 h 412870"/>
                  <a:gd name="connsiteX3" fmla="*/ 728459 w 831715"/>
                  <a:gd name="connsiteY3" fmla="*/ 2082 h 412870"/>
                  <a:gd name="connsiteX4" fmla="*/ 4332 w 831715"/>
                  <a:gd name="connsiteY4" fmla="*/ 0 h 412870"/>
                  <a:gd name="connsiteX5" fmla="*/ 0 w 831715"/>
                  <a:gd name="connsiteY5" fmla="*/ 82129 h 412870"/>
                  <a:gd name="connsiteX0" fmla="*/ 0 w 839623"/>
                  <a:gd name="connsiteY0" fmla="*/ 82129 h 412870"/>
                  <a:gd name="connsiteX1" fmla="*/ 411830 w 839623"/>
                  <a:gd name="connsiteY1" fmla="*/ 412870 h 412870"/>
                  <a:gd name="connsiteX2" fmla="*/ 831715 w 839623"/>
                  <a:gd name="connsiteY2" fmla="*/ 86993 h 412870"/>
                  <a:gd name="connsiteX3" fmla="*/ 839623 w 839623"/>
                  <a:gd name="connsiteY3" fmla="*/ 2083 h 412870"/>
                  <a:gd name="connsiteX4" fmla="*/ 4332 w 839623"/>
                  <a:gd name="connsiteY4" fmla="*/ 0 h 412870"/>
                  <a:gd name="connsiteX5" fmla="*/ 0 w 839623"/>
                  <a:gd name="connsiteY5" fmla="*/ 82129 h 412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39623" h="412870">
                    <a:moveTo>
                      <a:pt x="0" y="82129"/>
                    </a:moveTo>
                    <a:cubicBezTo>
                      <a:pt x="145105" y="80660"/>
                      <a:pt x="310905" y="152503"/>
                      <a:pt x="411830" y="412870"/>
                    </a:cubicBezTo>
                    <a:cubicBezTo>
                      <a:pt x="496288" y="146322"/>
                      <a:pt x="642482" y="86841"/>
                      <a:pt x="831715" y="86993"/>
                    </a:cubicBezTo>
                    <a:lnTo>
                      <a:pt x="839623" y="2083"/>
                    </a:lnTo>
                    <a:lnTo>
                      <a:pt x="4332" y="0"/>
                    </a:lnTo>
                    <a:lnTo>
                      <a:pt x="0" y="8212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36" name="Group 34"/>
            <p:cNvGrpSpPr/>
            <p:nvPr userDrawn="1"/>
          </p:nvGrpSpPr>
          <p:grpSpPr>
            <a:xfrm>
              <a:off x="140852" y="923636"/>
              <a:ext cx="2187677" cy="322918"/>
              <a:chOff x="-2" y="771525"/>
              <a:chExt cx="3076802" cy="454160"/>
            </a:xfrm>
          </p:grpSpPr>
          <p:sp>
            <p:nvSpPr>
              <p:cNvPr id="37" name="Flowchart: Process 36"/>
              <p:cNvSpPr/>
              <p:nvPr/>
            </p:nvSpPr>
            <p:spPr>
              <a:xfrm>
                <a:off x="-2" y="771525"/>
                <a:ext cx="3076802" cy="454160"/>
              </a:xfrm>
              <a:prstGeom prst="flowChartProcess">
                <a:avLst/>
              </a:prstGeom>
              <a:solidFill>
                <a:srgbClr val="585874"/>
              </a:solidFill>
              <a:ln>
                <a:noFill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2600" b="1" dirty="0">
                  <a:solidFill>
                    <a:schemeClr val="dk1"/>
                  </a:solidFill>
                  <a:latin typeface="Trebuchet MS" pitchFamily="34" charset="0"/>
                </a:endParaRPr>
              </a:p>
            </p:txBody>
          </p:sp>
          <p:grpSp>
            <p:nvGrpSpPr>
              <p:cNvPr id="38" name="Group 36"/>
              <p:cNvGrpSpPr/>
              <p:nvPr/>
            </p:nvGrpSpPr>
            <p:grpSpPr>
              <a:xfrm>
                <a:off x="188844" y="890429"/>
                <a:ext cx="273844" cy="216511"/>
                <a:chOff x="377952" y="1463835"/>
                <a:chExt cx="273844" cy="216511"/>
              </a:xfrm>
            </p:grpSpPr>
            <p:sp>
              <p:nvSpPr>
                <p:cNvPr id="39" name="Rectangle 38"/>
                <p:cNvSpPr/>
                <p:nvPr/>
              </p:nvSpPr>
              <p:spPr>
                <a:xfrm>
                  <a:off x="377952" y="1463835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0" name="Rectangle 39"/>
                <p:cNvSpPr/>
                <p:nvPr/>
              </p:nvSpPr>
              <p:spPr>
                <a:xfrm>
                  <a:off x="377952" y="1549231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1" name="Rectangle 40"/>
                <p:cNvSpPr/>
                <p:nvPr/>
              </p:nvSpPr>
              <p:spPr>
                <a:xfrm>
                  <a:off x="377952" y="1634627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p &amp; Rev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itle 1"/>
          <p:cNvSpPr>
            <a:spLocks noGrp="1"/>
          </p:cNvSpPr>
          <p:nvPr>
            <p:ph type="ctrTitle"/>
          </p:nvPr>
        </p:nvSpPr>
        <p:spPr>
          <a:xfrm>
            <a:off x="193962" y="925392"/>
            <a:ext cx="2073751" cy="457200"/>
          </a:xfrm>
          <a:prstGeom prst="rect">
            <a:avLst/>
          </a:prstGeom>
          <a:noFill/>
        </p:spPr>
        <p:txBody>
          <a:bodyPr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1450" kern="1200" dirty="0">
                <a:solidFill>
                  <a:srgbClr val="24274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1" name="Subtitle 2"/>
          <p:cNvSpPr>
            <a:spLocks noGrp="1"/>
          </p:cNvSpPr>
          <p:nvPr>
            <p:ph type="subTitle" idx="1"/>
          </p:nvPr>
        </p:nvSpPr>
        <p:spPr>
          <a:xfrm>
            <a:off x="2871090" y="1286163"/>
            <a:ext cx="5705983" cy="38100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rgbClr val="242748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7" name="Content Placeholder 25"/>
          <p:cNvSpPr>
            <a:spLocks noGrp="1"/>
          </p:cNvSpPr>
          <p:nvPr>
            <p:ph sz="quarter" idx="19" hasCustomPrompt="1"/>
          </p:nvPr>
        </p:nvSpPr>
        <p:spPr>
          <a:xfrm>
            <a:off x="2867026" y="1676399"/>
            <a:ext cx="2847975" cy="2362200"/>
          </a:xfrm>
          <a:prstGeom prst="rect">
            <a:avLst/>
          </a:prstGeom>
          <a:solidFill>
            <a:srgbClr val="DBE6C4"/>
          </a:solidFill>
        </p:spPr>
        <p:txBody>
          <a:bodyPr anchor="b" anchorCtr="1">
            <a:noAutofit/>
          </a:bodyPr>
          <a:lstStyle>
            <a:lvl1pPr algn="l">
              <a:buNone/>
              <a:defRPr lang="en-US" sz="12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342900" lvl="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Insert Object</a:t>
            </a:r>
            <a:endParaRPr lang="en-US" dirty="0"/>
          </a:p>
        </p:txBody>
      </p:sp>
      <p:sp>
        <p:nvSpPr>
          <p:cNvPr id="32" name="Table Placeholder 33"/>
          <p:cNvSpPr>
            <a:spLocks noGrp="1"/>
          </p:cNvSpPr>
          <p:nvPr>
            <p:ph type="tbl" sz="quarter" idx="27"/>
          </p:nvPr>
        </p:nvSpPr>
        <p:spPr>
          <a:xfrm>
            <a:off x="5743575" y="4343399"/>
            <a:ext cx="2819400" cy="1133475"/>
          </a:xfrm>
          <a:prstGeom prst="rect">
            <a:avLst/>
          </a:prstGeom>
        </p:spPr>
        <p:txBody>
          <a:bodyPr anchor="b" anchorCtr="1"/>
          <a:lstStyle>
            <a:lvl1pPr marL="1143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2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33" name="Table Placeholder 33"/>
          <p:cNvSpPr>
            <a:spLocks noGrp="1"/>
          </p:cNvSpPr>
          <p:nvPr>
            <p:ph type="tbl" sz="quarter" idx="30"/>
          </p:nvPr>
        </p:nvSpPr>
        <p:spPr>
          <a:xfrm>
            <a:off x="304802" y="4371973"/>
            <a:ext cx="1866900" cy="2105026"/>
          </a:xfrm>
          <a:prstGeom prst="rect">
            <a:avLst/>
          </a:prstGeom>
        </p:spPr>
        <p:txBody>
          <a:bodyPr anchor="b" anchorCtr="1"/>
          <a:lstStyle>
            <a:lvl1pPr marL="1143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2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31" name="Text Placeholder 45"/>
          <p:cNvSpPr>
            <a:spLocks noGrp="1"/>
          </p:cNvSpPr>
          <p:nvPr>
            <p:ph type="body" sz="quarter" idx="31" hasCustomPrompt="1"/>
          </p:nvPr>
        </p:nvSpPr>
        <p:spPr>
          <a:xfrm>
            <a:off x="5757291" y="1676399"/>
            <a:ext cx="2815209" cy="26161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>
            <a:spAutoFit/>
          </a:bodyPr>
          <a:lstStyle>
            <a:lvl1pPr marL="119063" indent="-119063">
              <a:buNone/>
              <a:defRPr sz="110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28600" indent="-109538">
              <a:defRPr sz="1000" baseline="0"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342900" indent="-114300">
              <a:defRPr sz="1000"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H2</a:t>
            </a:r>
            <a:endParaRPr lang="en-US" dirty="0"/>
          </a:p>
        </p:txBody>
      </p:sp>
      <p:grpSp>
        <p:nvGrpSpPr>
          <p:cNvPr id="2" name="Group 72"/>
          <p:cNvGrpSpPr/>
          <p:nvPr userDrawn="1"/>
        </p:nvGrpSpPr>
        <p:grpSpPr>
          <a:xfrm>
            <a:off x="140852" y="554828"/>
            <a:ext cx="8826701" cy="724418"/>
            <a:chOff x="140852" y="923636"/>
            <a:chExt cx="8826701" cy="724418"/>
          </a:xfrm>
        </p:grpSpPr>
        <p:grpSp>
          <p:nvGrpSpPr>
            <p:cNvPr id="3" name="Group 12"/>
            <p:cNvGrpSpPr/>
            <p:nvPr/>
          </p:nvGrpSpPr>
          <p:grpSpPr>
            <a:xfrm>
              <a:off x="2459187" y="1282395"/>
              <a:ext cx="6508366" cy="365659"/>
              <a:chOff x="-1" y="711412"/>
              <a:chExt cx="9153525" cy="514273"/>
            </a:xfrm>
          </p:grpSpPr>
          <p:sp>
            <p:nvSpPr>
              <p:cNvPr id="42" name="Flowchart: Process 41"/>
              <p:cNvSpPr/>
              <p:nvPr/>
            </p:nvSpPr>
            <p:spPr>
              <a:xfrm>
                <a:off x="-1" y="771525"/>
                <a:ext cx="9153525" cy="454160"/>
              </a:xfrm>
              <a:prstGeom prst="flowChartProcess">
                <a:avLst/>
              </a:prstGeom>
              <a:solidFill>
                <a:srgbClr val="585874"/>
              </a:solidFill>
              <a:ln>
                <a:noFill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algn="ctr" defTabSz="914400" rtl="0" eaLnBrk="1" latinLnBrk="0" hangingPunct="1"/>
                <a:endParaRPr lang="en-US" sz="2600" b="1" kern="1200" dirty="0">
                  <a:solidFill>
                    <a:schemeClr val="dk1"/>
                  </a:solidFill>
                  <a:latin typeface="Trebuchet MS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4" name="Group 19"/>
              <p:cNvGrpSpPr/>
              <p:nvPr/>
            </p:nvGrpSpPr>
            <p:grpSpPr>
              <a:xfrm>
                <a:off x="188844" y="890429"/>
                <a:ext cx="273844" cy="216511"/>
                <a:chOff x="377952" y="1463835"/>
                <a:chExt cx="273844" cy="216511"/>
              </a:xfrm>
            </p:grpSpPr>
            <p:sp>
              <p:nvSpPr>
                <p:cNvPr id="45" name="Rectangle 44"/>
                <p:cNvSpPr/>
                <p:nvPr/>
              </p:nvSpPr>
              <p:spPr>
                <a:xfrm>
                  <a:off x="377952" y="1463835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Rectangle 47"/>
                <p:cNvSpPr/>
                <p:nvPr/>
              </p:nvSpPr>
              <p:spPr>
                <a:xfrm>
                  <a:off x="377952" y="1549231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9" name="Rectangle 48"/>
                <p:cNvSpPr/>
                <p:nvPr/>
              </p:nvSpPr>
              <p:spPr>
                <a:xfrm>
                  <a:off x="377952" y="1634627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44" name="Freeform 43"/>
              <p:cNvSpPr/>
              <p:nvPr/>
            </p:nvSpPr>
            <p:spPr>
              <a:xfrm>
                <a:off x="534850" y="711412"/>
                <a:ext cx="461548" cy="226958"/>
              </a:xfrm>
              <a:custGeom>
                <a:avLst/>
                <a:gdLst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831715"/>
                  <a:gd name="connsiteY0" fmla="*/ 0 h 330741"/>
                  <a:gd name="connsiteX1" fmla="*/ 398834 w 831715"/>
                  <a:gd name="connsiteY1" fmla="*/ 330741 h 330741"/>
                  <a:gd name="connsiteX2" fmla="*/ 831715 w 831715"/>
                  <a:gd name="connsiteY2" fmla="*/ 4864 h 330741"/>
                  <a:gd name="connsiteX3" fmla="*/ 0 w 831715"/>
                  <a:gd name="connsiteY3" fmla="*/ 0 h 330741"/>
                  <a:gd name="connsiteX0" fmla="*/ 0 w 831715"/>
                  <a:gd name="connsiteY0" fmla="*/ 1469 h 332210"/>
                  <a:gd name="connsiteX1" fmla="*/ 398834 w 831715"/>
                  <a:gd name="connsiteY1" fmla="*/ 332210 h 332210"/>
                  <a:gd name="connsiteX2" fmla="*/ 831715 w 831715"/>
                  <a:gd name="connsiteY2" fmla="*/ 6333 h 332210"/>
                  <a:gd name="connsiteX3" fmla="*/ 0 w 831715"/>
                  <a:gd name="connsiteY3" fmla="*/ 1469 h 332210"/>
                  <a:gd name="connsiteX0" fmla="*/ 0 w 831715"/>
                  <a:gd name="connsiteY0" fmla="*/ 1469 h 332210"/>
                  <a:gd name="connsiteX1" fmla="*/ 411830 w 831715"/>
                  <a:gd name="connsiteY1" fmla="*/ 332210 h 332210"/>
                  <a:gd name="connsiteX2" fmla="*/ 831715 w 831715"/>
                  <a:gd name="connsiteY2" fmla="*/ 6333 h 332210"/>
                  <a:gd name="connsiteX3" fmla="*/ 0 w 831715"/>
                  <a:gd name="connsiteY3" fmla="*/ 1469 h 332210"/>
                  <a:gd name="connsiteX0" fmla="*/ 0 w 831715"/>
                  <a:gd name="connsiteY0" fmla="*/ 144420 h 475161"/>
                  <a:gd name="connsiteX1" fmla="*/ 411830 w 831715"/>
                  <a:gd name="connsiteY1" fmla="*/ 475161 h 475161"/>
                  <a:gd name="connsiteX2" fmla="*/ 831715 w 831715"/>
                  <a:gd name="connsiteY2" fmla="*/ 149284 h 475161"/>
                  <a:gd name="connsiteX3" fmla="*/ 667106 w 831715"/>
                  <a:gd name="connsiteY3" fmla="*/ 0 h 475161"/>
                  <a:gd name="connsiteX4" fmla="*/ 0 w 831715"/>
                  <a:gd name="connsiteY4" fmla="*/ 144420 h 475161"/>
                  <a:gd name="connsiteX0" fmla="*/ 0 w 831715"/>
                  <a:gd name="connsiteY0" fmla="*/ 144420 h 475161"/>
                  <a:gd name="connsiteX1" fmla="*/ 411830 w 831715"/>
                  <a:gd name="connsiteY1" fmla="*/ 475161 h 475161"/>
                  <a:gd name="connsiteX2" fmla="*/ 831715 w 831715"/>
                  <a:gd name="connsiteY2" fmla="*/ 149284 h 475161"/>
                  <a:gd name="connsiteX3" fmla="*/ 667106 w 831715"/>
                  <a:gd name="connsiteY3" fmla="*/ 0 h 475161"/>
                  <a:gd name="connsiteX4" fmla="*/ 4331 w 831715"/>
                  <a:gd name="connsiteY4" fmla="*/ 8665 h 475161"/>
                  <a:gd name="connsiteX5" fmla="*/ 0 w 831715"/>
                  <a:gd name="connsiteY5" fmla="*/ 144420 h 475161"/>
                  <a:gd name="connsiteX0" fmla="*/ 0 w 831715"/>
                  <a:gd name="connsiteY0" fmla="*/ 140087 h 470828"/>
                  <a:gd name="connsiteX1" fmla="*/ 411830 w 831715"/>
                  <a:gd name="connsiteY1" fmla="*/ 470828 h 470828"/>
                  <a:gd name="connsiteX2" fmla="*/ 831715 w 831715"/>
                  <a:gd name="connsiteY2" fmla="*/ 144951 h 470828"/>
                  <a:gd name="connsiteX3" fmla="*/ 831715 w 831715"/>
                  <a:gd name="connsiteY3" fmla="*/ 0 h 470828"/>
                  <a:gd name="connsiteX4" fmla="*/ 4331 w 831715"/>
                  <a:gd name="connsiteY4" fmla="*/ 4332 h 470828"/>
                  <a:gd name="connsiteX5" fmla="*/ 0 w 831715"/>
                  <a:gd name="connsiteY5" fmla="*/ 140087 h 470828"/>
                  <a:gd name="connsiteX0" fmla="*/ 0 w 831715"/>
                  <a:gd name="connsiteY0" fmla="*/ 135755 h 466496"/>
                  <a:gd name="connsiteX1" fmla="*/ 411830 w 831715"/>
                  <a:gd name="connsiteY1" fmla="*/ 466496 h 466496"/>
                  <a:gd name="connsiteX2" fmla="*/ 831715 w 831715"/>
                  <a:gd name="connsiteY2" fmla="*/ 140619 h 466496"/>
                  <a:gd name="connsiteX3" fmla="*/ 728459 w 831715"/>
                  <a:gd name="connsiteY3" fmla="*/ 55708 h 466496"/>
                  <a:gd name="connsiteX4" fmla="*/ 4331 w 831715"/>
                  <a:gd name="connsiteY4" fmla="*/ 0 h 466496"/>
                  <a:gd name="connsiteX5" fmla="*/ 0 w 831715"/>
                  <a:gd name="connsiteY5" fmla="*/ 135755 h 466496"/>
                  <a:gd name="connsiteX0" fmla="*/ 0 w 831715"/>
                  <a:gd name="connsiteY0" fmla="*/ 82129 h 412870"/>
                  <a:gd name="connsiteX1" fmla="*/ 411830 w 831715"/>
                  <a:gd name="connsiteY1" fmla="*/ 412870 h 412870"/>
                  <a:gd name="connsiteX2" fmla="*/ 831715 w 831715"/>
                  <a:gd name="connsiteY2" fmla="*/ 86993 h 412870"/>
                  <a:gd name="connsiteX3" fmla="*/ 728459 w 831715"/>
                  <a:gd name="connsiteY3" fmla="*/ 2082 h 412870"/>
                  <a:gd name="connsiteX4" fmla="*/ 4332 w 831715"/>
                  <a:gd name="connsiteY4" fmla="*/ 0 h 412870"/>
                  <a:gd name="connsiteX5" fmla="*/ 0 w 831715"/>
                  <a:gd name="connsiteY5" fmla="*/ 82129 h 412870"/>
                  <a:gd name="connsiteX0" fmla="*/ 0 w 839623"/>
                  <a:gd name="connsiteY0" fmla="*/ 82129 h 412870"/>
                  <a:gd name="connsiteX1" fmla="*/ 411830 w 839623"/>
                  <a:gd name="connsiteY1" fmla="*/ 412870 h 412870"/>
                  <a:gd name="connsiteX2" fmla="*/ 831715 w 839623"/>
                  <a:gd name="connsiteY2" fmla="*/ 86993 h 412870"/>
                  <a:gd name="connsiteX3" fmla="*/ 839623 w 839623"/>
                  <a:gd name="connsiteY3" fmla="*/ 2083 h 412870"/>
                  <a:gd name="connsiteX4" fmla="*/ 4332 w 839623"/>
                  <a:gd name="connsiteY4" fmla="*/ 0 h 412870"/>
                  <a:gd name="connsiteX5" fmla="*/ 0 w 839623"/>
                  <a:gd name="connsiteY5" fmla="*/ 82129 h 412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39623" h="412870">
                    <a:moveTo>
                      <a:pt x="0" y="82129"/>
                    </a:moveTo>
                    <a:cubicBezTo>
                      <a:pt x="145105" y="80660"/>
                      <a:pt x="310905" y="152503"/>
                      <a:pt x="411830" y="412870"/>
                    </a:cubicBezTo>
                    <a:cubicBezTo>
                      <a:pt x="496288" y="146322"/>
                      <a:pt x="642482" y="86841"/>
                      <a:pt x="831715" y="86993"/>
                    </a:cubicBezTo>
                    <a:lnTo>
                      <a:pt x="839623" y="2083"/>
                    </a:lnTo>
                    <a:lnTo>
                      <a:pt x="4332" y="0"/>
                    </a:lnTo>
                    <a:lnTo>
                      <a:pt x="0" y="8212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5" name="Group 34"/>
            <p:cNvGrpSpPr/>
            <p:nvPr userDrawn="1"/>
          </p:nvGrpSpPr>
          <p:grpSpPr>
            <a:xfrm>
              <a:off x="140852" y="923636"/>
              <a:ext cx="2187677" cy="322918"/>
              <a:chOff x="-2" y="771525"/>
              <a:chExt cx="3076802" cy="454160"/>
            </a:xfrm>
          </p:grpSpPr>
          <p:sp>
            <p:nvSpPr>
              <p:cNvPr id="37" name="Flowchart: Process 36"/>
              <p:cNvSpPr/>
              <p:nvPr/>
            </p:nvSpPr>
            <p:spPr>
              <a:xfrm>
                <a:off x="-2" y="771525"/>
                <a:ext cx="3076802" cy="454160"/>
              </a:xfrm>
              <a:prstGeom prst="flowChartProcess">
                <a:avLst/>
              </a:prstGeom>
              <a:solidFill>
                <a:srgbClr val="585874"/>
              </a:solidFill>
              <a:ln>
                <a:noFill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2600" b="1" dirty="0">
                  <a:solidFill>
                    <a:schemeClr val="dk1"/>
                  </a:solidFill>
                  <a:latin typeface="Trebuchet MS" pitchFamily="34" charset="0"/>
                </a:endParaRPr>
              </a:p>
            </p:txBody>
          </p:sp>
          <p:grpSp>
            <p:nvGrpSpPr>
              <p:cNvPr id="6" name="Group 36"/>
              <p:cNvGrpSpPr/>
              <p:nvPr/>
            </p:nvGrpSpPr>
            <p:grpSpPr>
              <a:xfrm>
                <a:off x="188844" y="890429"/>
                <a:ext cx="273844" cy="216511"/>
                <a:chOff x="377952" y="1463835"/>
                <a:chExt cx="273844" cy="216511"/>
              </a:xfrm>
            </p:grpSpPr>
            <p:sp>
              <p:nvSpPr>
                <p:cNvPr id="39" name="Rectangle 38"/>
                <p:cNvSpPr/>
                <p:nvPr/>
              </p:nvSpPr>
              <p:spPr>
                <a:xfrm>
                  <a:off x="377952" y="1463835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0" name="Rectangle 39"/>
                <p:cNvSpPr/>
                <p:nvPr/>
              </p:nvSpPr>
              <p:spPr>
                <a:xfrm>
                  <a:off x="377952" y="1549231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1" name="Rectangle 40"/>
                <p:cNvSpPr/>
                <p:nvPr/>
              </p:nvSpPr>
              <p:spPr>
                <a:xfrm>
                  <a:off x="377952" y="1634627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sp>
        <p:nvSpPr>
          <p:cNvPr id="34" name="Text Placeholder 45"/>
          <p:cNvSpPr>
            <a:spLocks noGrp="1"/>
          </p:cNvSpPr>
          <p:nvPr>
            <p:ph type="body" sz="quarter" idx="32" hasCustomPrompt="1"/>
          </p:nvPr>
        </p:nvSpPr>
        <p:spPr>
          <a:xfrm>
            <a:off x="5753100" y="1933576"/>
            <a:ext cx="2815209" cy="1292662"/>
          </a:xfrm>
          <a:prstGeom prst="rect">
            <a:avLst/>
          </a:prstGeom>
          <a:solidFill>
            <a:srgbClr val="F0F0F0"/>
          </a:solidFill>
        </p:spPr>
        <p:txBody>
          <a:bodyPr>
            <a:spAutoFit/>
          </a:bodyPr>
          <a:lstStyle>
            <a:lvl1pPr marL="0" indent="0">
              <a:buFont typeface="Arial" pitchFamily="34" charset="0"/>
              <a:buNone/>
              <a:defRPr sz="1000" baseline="0"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28600" indent="-109538">
              <a:defRPr sz="1000" baseline="0"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342900" indent="-114300">
              <a:defRPr sz="1000"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Inserted the Maximum text to set the height of the box. Actual text can be inserted in the note section.</a:t>
            </a:r>
          </a:p>
          <a:p>
            <a:pPr lvl="0"/>
            <a:r>
              <a:rPr lang="en-US" dirty="0" smtClean="0"/>
              <a:t>1</a:t>
            </a:r>
          </a:p>
          <a:p>
            <a:pPr lvl="0"/>
            <a:r>
              <a:rPr lang="en-US" dirty="0" smtClean="0"/>
              <a:t>2</a:t>
            </a:r>
          </a:p>
          <a:p>
            <a:pPr lvl="0"/>
            <a:r>
              <a:rPr lang="en-US" dirty="0" smtClean="0"/>
              <a:t>3</a:t>
            </a:r>
          </a:p>
          <a:p>
            <a:pPr lvl="0"/>
            <a:r>
              <a:rPr lang="en-US" dirty="0" smtClean="0"/>
              <a:t>4</a:t>
            </a:r>
          </a:p>
        </p:txBody>
      </p:sp>
      <p:sp>
        <p:nvSpPr>
          <p:cNvPr id="35" name="Text Placeholder 45"/>
          <p:cNvSpPr>
            <a:spLocks noGrp="1"/>
          </p:cNvSpPr>
          <p:nvPr>
            <p:ph type="body" sz="quarter" idx="33" hasCustomPrompt="1"/>
          </p:nvPr>
        </p:nvSpPr>
        <p:spPr>
          <a:xfrm>
            <a:off x="5757291" y="3248024"/>
            <a:ext cx="2815209" cy="261610"/>
          </a:xfrm>
          <a:prstGeom prst="rect">
            <a:avLst/>
          </a:prstGeom>
          <a:solidFill>
            <a:srgbClr val="2D6BB5"/>
          </a:solidFill>
        </p:spPr>
        <p:txBody>
          <a:bodyPr>
            <a:spAutoFit/>
          </a:bodyPr>
          <a:lstStyle>
            <a:lvl1pPr marL="119063" indent="-119063">
              <a:buNone/>
              <a:defRPr sz="110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28600" indent="-109538">
              <a:defRPr sz="1000" baseline="0"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342900" indent="-114300">
              <a:defRPr sz="1000"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H2</a:t>
            </a:r>
            <a:endParaRPr lang="en-US" dirty="0"/>
          </a:p>
        </p:txBody>
      </p:sp>
      <p:sp>
        <p:nvSpPr>
          <p:cNvPr id="36" name="Text Placeholder 45"/>
          <p:cNvSpPr>
            <a:spLocks noGrp="1"/>
          </p:cNvSpPr>
          <p:nvPr>
            <p:ph type="body" sz="quarter" idx="34" hasCustomPrompt="1"/>
          </p:nvPr>
        </p:nvSpPr>
        <p:spPr>
          <a:xfrm>
            <a:off x="5757291" y="3524249"/>
            <a:ext cx="2815209" cy="261610"/>
          </a:xfrm>
          <a:prstGeom prst="rect">
            <a:avLst/>
          </a:prstGeom>
          <a:solidFill>
            <a:srgbClr val="2D6BB5"/>
          </a:solidFill>
        </p:spPr>
        <p:txBody>
          <a:bodyPr>
            <a:spAutoFit/>
          </a:bodyPr>
          <a:lstStyle>
            <a:lvl1pPr marL="119063" indent="-119063">
              <a:buNone/>
              <a:defRPr sz="110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28600" indent="-109538">
              <a:defRPr sz="1000" baseline="0"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342900" indent="-114300">
              <a:defRPr sz="1000"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H2</a:t>
            </a:r>
            <a:endParaRPr lang="en-US" dirty="0"/>
          </a:p>
        </p:txBody>
      </p:sp>
      <p:sp>
        <p:nvSpPr>
          <p:cNvPr id="38" name="Text Placeholder 45"/>
          <p:cNvSpPr>
            <a:spLocks noGrp="1"/>
          </p:cNvSpPr>
          <p:nvPr>
            <p:ph type="body" sz="quarter" idx="35" hasCustomPrompt="1"/>
          </p:nvPr>
        </p:nvSpPr>
        <p:spPr>
          <a:xfrm>
            <a:off x="5757291" y="3800474"/>
            <a:ext cx="2815209" cy="261610"/>
          </a:xfrm>
          <a:prstGeom prst="rect">
            <a:avLst/>
          </a:prstGeom>
          <a:solidFill>
            <a:srgbClr val="2D6BB5"/>
          </a:solidFill>
        </p:spPr>
        <p:txBody>
          <a:bodyPr>
            <a:spAutoFit/>
          </a:bodyPr>
          <a:lstStyle>
            <a:lvl1pPr marL="119063" indent="-119063">
              <a:buNone/>
              <a:defRPr sz="110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28600" indent="-109538">
              <a:defRPr sz="1000" baseline="0"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342900" indent="-114300">
              <a:defRPr sz="1000"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H2</a:t>
            </a:r>
            <a:endParaRPr lang="en-US" dirty="0"/>
          </a:p>
        </p:txBody>
      </p:sp>
      <p:sp>
        <p:nvSpPr>
          <p:cNvPr id="43" name="Text Placeholder 45"/>
          <p:cNvSpPr>
            <a:spLocks noGrp="1"/>
          </p:cNvSpPr>
          <p:nvPr>
            <p:ph type="body" sz="quarter" idx="36" hasCustomPrompt="1"/>
          </p:nvPr>
        </p:nvSpPr>
        <p:spPr>
          <a:xfrm>
            <a:off x="318516" y="1428749"/>
            <a:ext cx="1895475" cy="26161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wrap="square">
            <a:spAutoFit/>
          </a:bodyPr>
          <a:lstStyle>
            <a:lvl1pPr marL="119063" indent="-119063">
              <a:buNone/>
              <a:defRPr sz="110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28600" indent="-109538">
              <a:defRPr sz="1000" baseline="0"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342900" indent="-114300">
              <a:defRPr sz="1000"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H2</a:t>
            </a:r>
            <a:endParaRPr lang="en-US" dirty="0"/>
          </a:p>
        </p:txBody>
      </p:sp>
      <p:sp>
        <p:nvSpPr>
          <p:cNvPr id="46" name="Text Placeholder 45"/>
          <p:cNvSpPr>
            <a:spLocks noGrp="1"/>
          </p:cNvSpPr>
          <p:nvPr>
            <p:ph type="body" sz="quarter" idx="37" hasCustomPrompt="1"/>
          </p:nvPr>
        </p:nvSpPr>
        <p:spPr>
          <a:xfrm>
            <a:off x="314325" y="1685926"/>
            <a:ext cx="1895475" cy="1477328"/>
          </a:xfrm>
          <a:prstGeom prst="rect">
            <a:avLst/>
          </a:prstGeom>
          <a:solidFill>
            <a:srgbClr val="F0F0F0"/>
          </a:solidFill>
        </p:spPr>
        <p:txBody>
          <a:bodyPr wrap="square">
            <a:spAutoFit/>
          </a:bodyPr>
          <a:lstStyle>
            <a:lvl1pPr marL="0" indent="0">
              <a:buFont typeface="Arial" pitchFamily="34" charset="0"/>
              <a:buNone/>
              <a:defRPr sz="900" baseline="0"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28600" indent="-109538">
              <a:defRPr sz="1000" baseline="0"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342900" indent="-114300">
              <a:defRPr sz="1000"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Inserted the Maximum text to set the height of the box. Actual text can be inserted in the note section.</a:t>
            </a:r>
          </a:p>
          <a:p>
            <a:pPr lvl="0"/>
            <a:r>
              <a:rPr lang="en-US" dirty="0" smtClean="0"/>
              <a:t>1</a:t>
            </a:r>
          </a:p>
          <a:p>
            <a:pPr lvl="0"/>
            <a:r>
              <a:rPr lang="en-US" dirty="0" smtClean="0"/>
              <a:t>2</a:t>
            </a:r>
          </a:p>
          <a:p>
            <a:pPr lvl="0"/>
            <a:r>
              <a:rPr lang="en-US" dirty="0" smtClean="0"/>
              <a:t>3</a:t>
            </a:r>
          </a:p>
          <a:p>
            <a:pPr lvl="0"/>
            <a:r>
              <a:rPr lang="en-US" dirty="0" smtClean="0"/>
              <a:t>4</a:t>
            </a:r>
          </a:p>
          <a:p>
            <a:pPr lvl="0"/>
            <a:endParaRPr lang="en-US" dirty="0" smtClean="0"/>
          </a:p>
        </p:txBody>
      </p:sp>
      <p:sp>
        <p:nvSpPr>
          <p:cNvPr id="47" name="Text Placeholder 45"/>
          <p:cNvSpPr>
            <a:spLocks noGrp="1"/>
          </p:cNvSpPr>
          <p:nvPr>
            <p:ph type="body" sz="quarter" idx="38" hasCustomPrompt="1"/>
          </p:nvPr>
        </p:nvSpPr>
        <p:spPr>
          <a:xfrm>
            <a:off x="318516" y="3157865"/>
            <a:ext cx="1895475" cy="261610"/>
          </a:xfrm>
          <a:prstGeom prst="rect">
            <a:avLst/>
          </a:prstGeom>
          <a:solidFill>
            <a:srgbClr val="2D6BB5"/>
          </a:solidFill>
        </p:spPr>
        <p:txBody>
          <a:bodyPr wrap="square">
            <a:spAutoFit/>
          </a:bodyPr>
          <a:lstStyle>
            <a:lvl1pPr marL="119063" indent="-119063">
              <a:buNone/>
              <a:defRPr sz="110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28600" indent="-109538">
              <a:defRPr sz="1000" baseline="0"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342900" indent="-114300">
              <a:defRPr sz="1000"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H2</a:t>
            </a:r>
            <a:endParaRPr lang="en-US" dirty="0"/>
          </a:p>
        </p:txBody>
      </p:sp>
      <p:sp>
        <p:nvSpPr>
          <p:cNvPr id="50" name="Text Placeholder 45"/>
          <p:cNvSpPr>
            <a:spLocks noGrp="1"/>
          </p:cNvSpPr>
          <p:nvPr>
            <p:ph type="body" sz="quarter" idx="39" hasCustomPrompt="1"/>
          </p:nvPr>
        </p:nvSpPr>
        <p:spPr>
          <a:xfrm>
            <a:off x="318516" y="3443615"/>
            <a:ext cx="1895475" cy="261610"/>
          </a:xfrm>
          <a:prstGeom prst="rect">
            <a:avLst/>
          </a:prstGeom>
          <a:solidFill>
            <a:srgbClr val="2D6BB5"/>
          </a:solidFill>
        </p:spPr>
        <p:txBody>
          <a:bodyPr wrap="square">
            <a:spAutoFit/>
          </a:bodyPr>
          <a:lstStyle>
            <a:lvl1pPr marL="119063" indent="-119063">
              <a:buNone/>
              <a:defRPr sz="110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28600" indent="-109538">
              <a:defRPr sz="1000" baseline="0"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342900" indent="-114300">
              <a:defRPr sz="1000"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H2</a:t>
            </a:r>
            <a:endParaRPr lang="en-US" dirty="0"/>
          </a:p>
        </p:txBody>
      </p:sp>
      <p:sp>
        <p:nvSpPr>
          <p:cNvPr id="51" name="Text Placeholder 45"/>
          <p:cNvSpPr>
            <a:spLocks noGrp="1"/>
          </p:cNvSpPr>
          <p:nvPr>
            <p:ph type="body" sz="quarter" idx="40" hasCustomPrompt="1"/>
          </p:nvPr>
        </p:nvSpPr>
        <p:spPr>
          <a:xfrm>
            <a:off x="318516" y="3738890"/>
            <a:ext cx="1895475" cy="261610"/>
          </a:xfrm>
          <a:prstGeom prst="rect">
            <a:avLst/>
          </a:prstGeom>
          <a:solidFill>
            <a:srgbClr val="2D6BB5"/>
          </a:solidFill>
        </p:spPr>
        <p:txBody>
          <a:bodyPr wrap="square">
            <a:spAutoFit/>
          </a:bodyPr>
          <a:lstStyle>
            <a:lvl1pPr marL="119063" indent="-119063">
              <a:buNone/>
              <a:defRPr sz="110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28600" indent="-109538">
              <a:defRPr sz="1000" baseline="0"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342900" indent="-114300">
              <a:defRPr sz="1000"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H2</a:t>
            </a:r>
            <a:endParaRPr lang="en-US" dirty="0"/>
          </a:p>
        </p:txBody>
      </p:sp>
      <p:sp>
        <p:nvSpPr>
          <p:cNvPr id="53" name="Content Placeholder 52"/>
          <p:cNvSpPr>
            <a:spLocks noGrp="1"/>
          </p:cNvSpPr>
          <p:nvPr>
            <p:ph sz="quarter" idx="41" hasCustomPrompt="1"/>
          </p:nvPr>
        </p:nvSpPr>
        <p:spPr>
          <a:xfrm>
            <a:off x="8305800" y="1600200"/>
            <a:ext cx="257175" cy="342900"/>
          </a:xfrm>
          <a:prstGeom prst="rect">
            <a:avLst/>
          </a:prstGeom>
        </p:spPr>
        <p:txBody>
          <a:bodyPr anchor="ctr" anchorCtr="1"/>
          <a:lstStyle>
            <a:lvl1pPr>
              <a:buNone/>
              <a:defRPr sz="2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-</a:t>
            </a:r>
            <a:endParaRPr lang="en-US" dirty="0"/>
          </a:p>
        </p:txBody>
      </p:sp>
      <p:sp>
        <p:nvSpPr>
          <p:cNvPr id="54" name="Content Placeholder 52"/>
          <p:cNvSpPr>
            <a:spLocks noGrp="1"/>
          </p:cNvSpPr>
          <p:nvPr>
            <p:ph sz="quarter" idx="42" hasCustomPrompt="1"/>
          </p:nvPr>
        </p:nvSpPr>
        <p:spPr>
          <a:xfrm>
            <a:off x="8315325" y="3190875"/>
            <a:ext cx="257175" cy="342900"/>
          </a:xfrm>
          <a:prstGeom prst="rect">
            <a:avLst/>
          </a:prstGeom>
        </p:spPr>
        <p:txBody>
          <a:bodyPr anchor="ctr" anchorCtr="1"/>
          <a:lstStyle>
            <a:lvl1pPr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+</a:t>
            </a:r>
            <a:endParaRPr lang="en-US" dirty="0"/>
          </a:p>
        </p:txBody>
      </p:sp>
      <p:sp>
        <p:nvSpPr>
          <p:cNvPr id="55" name="Content Placeholder 52"/>
          <p:cNvSpPr>
            <a:spLocks noGrp="1"/>
          </p:cNvSpPr>
          <p:nvPr>
            <p:ph sz="quarter" idx="43" hasCustomPrompt="1"/>
          </p:nvPr>
        </p:nvSpPr>
        <p:spPr>
          <a:xfrm>
            <a:off x="8305800" y="3486150"/>
            <a:ext cx="257175" cy="342900"/>
          </a:xfrm>
          <a:prstGeom prst="rect">
            <a:avLst/>
          </a:prstGeom>
        </p:spPr>
        <p:txBody>
          <a:bodyPr anchor="ctr" anchorCtr="1"/>
          <a:lstStyle>
            <a:lvl1pPr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+</a:t>
            </a:r>
            <a:endParaRPr lang="en-US" dirty="0"/>
          </a:p>
        </p:txBody>
      </p:sp>
      <p:sp>
        <p:nvSpPr>
          <p:cNvPr id="56" name="Content Placeholder 52"/>
          <p:cNvSpPr>
            <a:spLocks noGrp="1"/>
          </p:cNvSpPr>
          <p:nvPr>
            <p:ph sz="quarter" idx="44" hasCustomPrompt="1"/>
          </p:nvPr>
        </p:nvSpPr>
        <p:spPr>
          <a:xfrm>
            <a:off x="8305800" y="3762375"/>
            <a:ext cx="257175" cy="342900"/>
          </a:xfrm>
          <a:prstGeom prst="rect">
            <a:avLst/>
          </a:prstGeom>
        </p:spPr>
        <p:txBody>
          <a:bodyPr anchor="ctr" anchorCtr="1"/>
          <a:lstStyle>
            <a:lvl1pPr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+</a:t>
            </a:r>
            <a:endParaRPr lang="en-US" dirty="0"/>
          </a:p>
        </p:txBody>
      </p:sp>
      <p:sp>
        <p:nvSpPr>
          <p:cNvPr id="57" name="Content Placeholder 52"/>
          <p:cNvSpPr>
            <a:spLocks noGrp="1"/>
          </p:cNvSpPr>
          <p:nvPr>
            <p:ph sz="quarter" idx="45" hasCustomPrompt="1"/>
          </p:nvPr>
        </p:nvSpPr>
        <p:spPr>
          <a:xfrm>
            <a:off x="1933575" y="1352550"/>
            <a:ext cx="257175" cy="342900"/>
          </a:xfrm>
          <a:prstGeom prst="rect">
            <a:avLst/>
          </a:prstGeom>
        </p:spPr>
        <p:txBody>
          <a:bodyPr anchor="ctr" anchorCtr="1"/>
          <a:lstStyle>
            <a:lvl1pPr>
              <a:buNone/>
              <a:defRPr sz="2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-</a:t>
            </a:r>
            <a:endParaRPr lang="en-US" dirty="0"/>
          </a:p>
        </p:txBody>
      </p:sp>
      <p:sp>
        <p:nvSpPr>
          <p:cNvPr id="58" name="Content Placeholder 52"/>
          <p:cNvSpPr>
            <a:spLocks noGrp="1"/>
          </p:cNvSpPr>
          <p:nvPr>
            <p:ph sz="quarter" idx="46" hasCustomPrompt="1"/>
          </p:nvPr>
        </p:nvSpPr>
        <p:spPr>
          <a:xfrm>
            <a:off x="1943100" y="3124200"/>
            <a:ext cx="257175" cy="342900"/>
          </a:xfrm>
          <a:prstGeom prst="rect">
            <a:avLst/>
          </a:prstGeom>
        </p:spPr>
        <p:txBody>
          <a:bodyPr anchor="ctr" anchorCtr="1"/>
          <a:lstStyle>
            <a:lvl1pPr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+</a:t>
            </a:r>
            <a:endParaRPr lang="en-US" dirty="0"/>
          </a:p>
        </p:txBody>
      </p:sp>
      <p:sp>
        <p:nvSpPr>
          <p:cNvPr id="59" name="Content Placeholder 52"/>
          <p:cNvSpPr>
            <a:spLocks noGrp="1"/>
          </p:cNvSpPr>
          <p:nvPr>
            <p:ph sz="quarter" idx="47" hasCustomPrompt="1"/>
          </p:nvPr>
        </p:nvSpPr>
        <p:spPr>
          <a:xfrm>
            <a:off x="1933575" y="3419475"/>
            <a:ext cx="257175" cy="342900"/>
          </a:xfrm>
          <a:prstGeom prst="rect">
            <a:avLst/>
          </a:prstGeom>
        </p:spPr>
        <p:txBody>
          <a:bodyPr anchor="ctr" anchorCtr="1"/>
          <a:lstStyle>
            <a:lvl1pPr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+</a:t>
            </a:r>
            <a:endParaRPr lang="en-US" dirty="0"/>
          </a:p>
        </p:txBody>
      </p:sp>
      <p:sp>
        <p:nvSpPr>
          <p:cNvPr id="60" name="Content Placeholder 52"/>
          <p:cNvSpPr>
            <a:spLocks noGrp="1"/>
          </p:cNvSpPr>
          <p:nvPr>
            <p:ph sz="quarter" idx="48" hasCustomPrompt="1"/>
          </p:nvPr>
        </p:nvSpPr>
        <p:spPr>
          <a:xfrm>
            <a:off x="1933575" y="3695700"/>
            <a:ext cx="257175" cy="342900"/>
          </a:xfrm>
          <a:prstGeom prst="rect">
            <a:avLst/>
          </a:prstGeom>
        </p:spPr>
        <p:txBody>
          <a:bodyPr anchor="ctr" anchorCtr="1"/>
          <a:lstStyle>
            <a:lvl1pPr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+</a:t>
            </a:r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ext &amp;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itle 1"/>
          <p:cNvSpPr>
            <a:spLocks noGrp="1"/>
          </p:cNvSpPr>
          <p:nvPr>
            <p:ph type="ctrTitle"/>
          </p:nvPr>
        </p:nvSpPr>
        <p:spPr>
          <a:xfrm>
            <a:off x="193962" y="925392"/>
            <a:ext cx="2073751" cy="457200"/>
          </a:xfrm>
          <a:prstGeom prst="rect">
            <a:avLst/>
          </a:prstGeom>
          <a:noFill/>
        </p:spPr>
        <p:txBody>
          <a:bodyPr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1450" kern="1200" dirty="0">
                <a:solidFill>
                  <a:srgbClr val="24274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1" name="Subtitle 2"/>
          <p:cNvSpPr>
            <a:spLocks noGrp="1"/>
          </p:cNvSpPr>
          <p:nvPr>
            <p:ph type="subTitle" idx="1"/>
          </p:nvPr>
        </p:nvSpPr>
        <p:spPr>
          <a:xfrm>
            <a:off x="2871090" y="1286163"/>
            <a:ext cx="5705983" cy="38100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rgbClr val="242748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7" name="Content Placeholder 25"/>
          <p:cNvSpPr>
            <a:spLocks noGrp="1"/>
          </p:cNvSpPr>
          <p:nvPr>
            <p:ph sz="quarter" idx="19" hasCustomPrompt="1"/>
          </p:nvPr>
        </p:nvSpPr>
        <p:spPr>
          <a:xfrm>
            <a:off x="5724526" y="1676399"/>
            <a:ext cx="2847975" cy="2362200"/>
          </a:xfrm>
          <a:prstGeom prst="rect">
            <a:avLst/>
          </a:prstGeom>
          <a:solidFill>
            <a:srgbClr val="DBE6C4"/>
          </a:solidFill>
        </p:spPr>
        <p:txBody>
          <a:bodyPr anchor="b" anchorCtr="1">
            <a:noAutofit/>
          </a:bodyPr>
          <a:lstStyle>
            <a:lvl1pPr algn="l">
              <a:buNone/>
              <a:defRPr lang="en-US" sz="12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342900" lvl="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Insert Object</a:t>
            </a:r>
            <a:endParaRPr lang="en-US" dirty="0"/>
          </a:p>
        </p:txBody>
      </p:sp>
      <p:sp>
        <p:nvSpPr>
          <p:cNvPr id="28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152402" y="2973705"/>
            <a:ext cx="2171700" cy="1285875"/>
          </a:xfrm>
          <a:prstGeom prst="rect">
            <a:avLst/>
          </a:prstGeom>
          <a:solidFill>
            <a:srgbClr val="DBE6C4"/>
          </a:solidFill>
        </p:spPr>
        <p:txBody>
          <a:bodyPr anchor="b" anchorCtr="1">
            <a:noAutofit/>
          </a:bodyPr>
          <a:lstStyle>
            <a:lvl1pPr algn="l">
              <a:buNone/>
              <a:defRPr lang="en-US" sz="12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342900" lvl="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Insert Object</a:t>
            </a:r>
            <a:endParaRPr lang="en-US" dirty="0"/>
          </a:p>
        </p:txBody>
      </p:sp>
      <p:sp>
        <p:nvSpPr>
          <p:cNvPr id="25" name="Table Placeholder 33"/>
          <p:cNvSpPr>
            <a:spLocks noGrp="1"/>
          </p:cNvSpPr>
          <p:nvPr>
            <p:ph type="tbl" sz="quarter" idx="30"/>
          </p:nvPr>
        </p:nvSpPr>
        <p:spPr>
          <a:xfrm>
            <a:off x="304802" y="4371973"/>
            <a:ext cx="1866900" cy="2105026"/>
          </a:xfrm>
          <a:prstGeom prst="rect">
            <a:avLst/>
          </a:prstGeom>
        </p:spPr>
        <p:txBody>
          <a:bodyPr anchor="b" anchorCtr="1"/>
          <a:lstStyle>
            <a:lvl1pPr marL="1143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2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26" name="Table Placeholder 33"/>
          <p:cNvSpPr>
            <a:spLocks noGrp="1"/>
          </p:cNvSpPr>
          <p:nvPr>
            <p:ph type="tbl" sz="quarter" idx="26"/>
          </p:nvPr>
        </p:nvSpPr>
        <p:spPr>
          <a:xfrm>
            <a:off x="2876551" y="4343399"/>
            <a:ext cx="2819400" cy="1133475"/>
          </a:xfrm>
          <a:prstGeom prst="rect">
            <a:avLst/>
          </a:prstGeom>
        </p:spPr>
        <p:txBody>
          <a:bodyPr anchor="b" anchorCtr="1"/>
          <a:lstStyle>
            <a:lvl1pPr marL="1143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2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29" name="Text Placeholder 45"/>
          <p:cNvSpPr>
            <a:spLocks noGrp="1"/>
          </p:cNvSpPr>
          <p:nvPr>
            <p:ph type="body" sz="quarter" idx="17" hasCustomPrompt="1"/>
          </p:nvPr>
        </p:nvSpPr>
        <p:spPr>
          <a:xfrm>
            <a:off x="301752" y="1419224"/>
            <a:ext cx="1865376" cy="1514475"/>
          </a:xfrm>
          <a:prstGeom prst="rect">
            <a:avLst/>
          </a:prstGeom>
        </p:spPr>
        <p:txBody>
          <a:bodyPr/>
          <a:lstStyle>
            <a:lvl1pPr marL="119063" indent="-119063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0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28600" indent="-109538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9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3429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900" kern="12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H2</a:t>
            </a:r>
          </a:p>
          <a:p>
            <a:pPr lvl="1"/>
            <a:r>
              <a:rPr lang="en-US" dirty="0" smtClean="0"/>
              <a:t>Paragraph text</a:t>
            </a:r>
          </a:p>
          <a:p>
            <a:pPr lvl="2"/>
            <a:r>
              <a:rPr lang="en-US" dirty="0" smtClean="0"/>
              <a:t>Bullet text</a:t>
            </a:r>
            <a:endParaRPr lang="en-US" dirty="0"/>
          </a:p>
        </p:txBody>
      </p:sp>
      <p:sp>
        <p:nvSpPr>
          <p:cNvPr id="30" name="Text Placeholder 45"/>
          <p:cNvSpPr>
            <a:spLocks noGrp="1"/>
          </p:cNvSpPr>
          <p:nvPr>
            <p:ph type="body" sz="quarter" idx="27" hasCustomPrompt="1"/>
          </p:nvPr>
        </p:nvSpPr>
        <p:spPr>
          <a:xfrm>
            <a:off x="2871216" y="1676399"/>
            <a:ext cx="2815209" cy="2371725"/>
          </a:xfrm>
          <a:prstGeom prst="rect">
            <a:avLst/>
          </a:prstGeom>
        </p:spPr>
        <p:txBody>
          <a:bodyPr/>
          <a:lstStyle>
            <a:lvl1pPr marL="119063" indent="-119063">
              <a:defRPr sz="1100"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28600" indent="-109538">
              <a:defRPr sz="1000" baseline="0"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342900" indent="-114300">
              <a:defRPr sz="1000"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H2</a:t>
            </a:r>
          </a:p>
          <a:p>
            <a:pPr lvl="1"/>
            <a:r>
              <a:rPr lang="en-US" dirty="0" smtClean="0"/>
              <a:t>Paragraph text</a:t>
            </a:r>
          </a:p>
          <a:p>
            <a:pPr lvl="2"/>
            <a:r>
              <a:rPr lang="en-US" dirty="0" smtClean="0"/>
              <a:t>Bullet  text</a:t>
            </a:r>
            <a:endParaRPr lang="en-US" dirty="0"/>
          </a:p>
        </p:txBody>
      </p:sp>
      <p:grpSp>
        <p:nvGrpSpPr>
          <p:cNvPr id="31" name="Group 72"/>
          <p:cNvGrpSpPr/>
          <p:nvPr userDrawn="1"/>
        </p:nvGrpSpPr>
        <p:grpSpPr>
          <a:xfrm>
            <a:off x="140852" y="554828"/>
            <a:ext cx="8826701" cy="724418"/>
            <a:chOff x="140852" y="923636"/>
            <a:chExt cx="8826701" cy="724418"/>
          </a:xfrm>
        </p:grpSpPr>
        <p:grpSp>
          <p:nvGrpSpPr>
            <p:cNvPr id="32" name="Group 12"/>
            <p:cNvGrpSpPr/>
            <p:nvPr/>
          </p:nvGrpSpPr>
          <p:grpSpPr>
            <a:xfrm>
              <a:off x="2459187" y="1282395"/>
              <a:ext cx="6508366" cy="365659"/>
              <a:chOff x="-1" y="711412"/>
              <a:chExt cx="9153525" cy="514273"/>
            </a:xfrm>
          </p:grpSpPr>
          <p:sp>
            <p:nvSpPr>
              <p:cNvPr id="39" name="Flowchart: Process 38"/>
              <p:cNvSpPr/>
              <p:nvPr/>
            </p:nvSpPr>
            <p:spPr>
              <a:xfrm>
                <a:off x="-1" y="771525"/>
                <a:ext cx="9153525" cy="454160"/>
              </a:xfrm>
              <a:prstGeom prst="flowChartProcess">
                <a:avLst/>
              </a:prstGeom>
              <a:solidFill>
                <a:srgbClr val="585874"/>
              </a:solidFill>
              <a:ln>
                <a:noFill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algn="ctr" defTabSz="914400" rtl="0" eaLnBrk="1" latinLnBrk="0" hangingPunct="1"/>
                <a:endParaRPr lang="en-US" sz="2600" b="1" kern="1200" dirty="0">
                  <a:solidFill>
                    <a:schemeClr val="dk1"/>
                  </a:solidFill>
                  <a:latin typeface="Trebuchet MS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40" name="Group 19"/>
              <p:cNvGrpSpPr/>
              <p:nvPr/>
            </p:nvGrpSpPr>
            <p:grpSpPr>
              <a:xfrm>
                <a:off x="188844" y="890429"/>
                <a:ext cx="273844" cy="216511"/>
                <a:chOff x="377952" y="1463835"/>
                <a:chExt cx="273844" cy="216511"/>
              </a:xfrm>
            </p:grpSpPr>
            <p:sp>
              <p:nvSpPr>
                <p:cNvPr id="42" name="Rectangle 41"/>
                <p:cNvSpPr/>
                <p:nvPr/>
              </p:nvSpPr>
              <p:spPr>
                <a:xfrm>
                  <a:off x="377952" y="1463835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3" name="Rectangle 42"/>
                <p:cNvSpPr/>
                <p:nvPr/>
              </p:nvSpPr>
              <p:spPr>
                <a:xfrm>
                  <a:off x="377952" y="1549231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4" name="Rectangle 43"/>
                <p:cNvSpPr/>
                <p:nvPr/>
              </p:nvSpPr>
              <p:spPr>
                <a:xfrm>
                  <a:off x="377952" y="1634627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41" name="Freeform 40"/>
              <p:cNvSpPr/>
              <p:nvPr/>
            </p:nvSpPr>
            <p:spPr>
              <a:xfrm>
                <a:off x="534850" y="711412"/>
                <a:ext cx="461548" cy="226958"/>
              </a:xfrm>
              <a:custGeom>
                <a:avLst/>
                <a:gdLst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831715"/>
                  <a:gd name="connsiteY0" fmla="*/ 0 h 330741"/>
                  <a:gd name="connsiteX1" fmla="*/ 398834 w 831715"/>
                  <a:gd name="connsiteY1" fmla="*/ 330741 h 330741"/>
                  <a:gd name="connsiteX2" fmla="*/ 831715 w 831715"/>
                  <a:gd name="connsiteY2" fmla="*/ 4864 h 330741"/>
                  <a:gd name="connsiteX3" fmla="*/ 0 w 831715"/>
                  <a:gd name="connsiteY3" fmla="*/ 0 h 330741"/>
                  <a:gd name="connsiteX0" fmla="*/ 0 w 831715"/>
                  <a:gd name="connsiteY0" fmla="*/ 1469 h 332210"/>
                  <a:gd name="connsiteX1" fmla="*/ 398834 w 831715"/>
                  <a:gd name="connsiteY1" fmla="*/ 332210 h 332210"/>
                  <a:gd name="connsiteX2" fmla="*/ 831715 w 831715"/>
                  <a:gd name="connsiteY2" fmla="*/ 6333 h 332210"/>
                  <a:gd name="connsiteX3" fmla="*/ 0 w 831715"/>
                  <a:gd name="connsiteY3" fmla="*/ 1469 h 332210"/>
                  <a:gd name="connsiteX0" fmla="*/ 0 w 831715"/>
                  <a:gd name="connsiteY0" fmla="*/ 1469 h 332210"/>
                  <a:gd name="connsiteX1" fmla="*/ 411830 w 831715"/>
                  <a:gd name="connsiteY1" fmla="*/ 332210 h 332210"/>
                  <a:gd name="connsiteX2" fmla="*/ 831715 w 831715"/>
                  <a:gd name="connsiteY2" fmla="*/ 6333 h 332210"/>
                  <a:gd name="connsiteX3" fmla="*/ 0 w 831715"/>
                  <a:gd name="connsiteY3" fmla="*/ 1469 h 332210"/>
                  <a:gd name="connsiteX0" fmla="*/ 0 w 831715"/>
                  <a:gd name="connsiteY0" fmla="*/ 144420 h 475161"/>
                  <a:gd name="connsiteX1" fmla="*/ 411830 w 831715"/>
                  <a:gd name="connsiteY1" fmla="*/ 475161 h 475161"/>
                  <a:gd name="connsiteX2" fmla="*/ 831715 w 831715"/>
                  <a:gd name="connsiteY2" fmla="*/ 149284 h 475161"/>
                  <a:gd name="connsiteX3" fmla="*/ 667106 w 831715"/>
                  <a:gd name="connsiteY3" fmla="*/ 0 h 475161"/>
                  <a:gd name="connsiteX4" fmla="*/ 0 w 831715"/>
                  <a:gd name="connsiteY4" fmla="*/ 144420 h 475161"/>
                  <a:gd name="connsiteX0" fmla="*/ 0 w 831715"/>
                  <a:gd name="connsiteY0" fmla="*/ 144420 h 475161"/>
                  <a:gd name="connsiteX1" fmla="*/ 411830 w 831715"/>
                  <a:gd name="connsiteY1" fmla="*/ 475161 h 475161"/>
                  <a:gd name="connsiteX2" fmla="*/ 831715 w 831715"/>
                  <a:gd name="connsiteY2" fmla="*/ 149284 h 475161"/>
                  <a:gd name="connsiteX3" fmla="*/ 667106 w 831715"/>
                  <a:gd name="connsiteY3" fmla="*/ 0 h 475161"/>
                  <a:gd name="connsiteX4" fmla="*/ 4331 w 831715"/>
                  <a:gd name="connsiteY4" fmla="*/ 8665 h 475161"/>
                  <a:gd name="connsiteX5" fmla="*/ 0 w 831715"/>
                  <a:gd name="connsiteY5" fmla="*/ 144420 h 475161"/>
                  <a:gd name="connsiteX0" fmla="*/ 0 w 831715"/>
                  <a:gd name="connsiteY0" fmla="*/ 140087 h 470828"/>
                  <a:gd name="connsiteX1" fmla="*/ 411830 w 831715"/>
                  <a:gd name="connsiteY1" fmla="*/ 470828 h 470828"/>
                  <a:gd name="connsiteX2" fmla="*/ 831715 w 831715"/>
                  <a:gd name="connsiteY2" fmla="*/ 144951 h 470828"/>
                  <a:gd name="connsiteX3" fmla="*/ 831715 w 831715"/>
                  <a:gd name="connsiteY3" fmla="*/ 0 h 470828"/>
                  <a:gd name="connsiteX4" fmla="*/ 4331 w 831715"/>
                  <a:gd name="connsiteY4" fmla="*/ 4332 h 470828"/>
                  <a:gd name="connsiteX5" fmla="*/ 0 w 831715"/>
                  <a:gd name="connsiteY5" fmla="*/ 140087 h 470828"/>
                  <a:gd name="connsiteX0" fmla="*/ 0 w 831715"/>
                  <a:gd name="connsiteY0" fmla="*/ 135755 h 466496"/>
                  <a:gd name="connsiteX1" fmla="*/ 411830 w 831715"/>
                  <a:gd name="connsiteY1" fmla="*/ 466496 h 466496"/>
                  <a:gd name="connsiteX2" fmla="*/ 831715 w 831715"/>
                  <a:gd name="connsiteY2" fmla="*/ 140619 h 466496"/>
                  <a:gd name="connsiteX3" fmla="*/ 728459 w 831715"/>
                  <a:gd name="connsiteY3" fmla="*/ 55708 h 466496"/>
                  <a:gd name="connsiteX4" fmla="*/ 4331 w 831715"/>
                  <a:gd name="connsiteY4" fmla="*/ 0 h 466496"/>
                  <a:gd name="connsiteX5" fmla="*/ 0 w 831715"/>
                  <a:gd name="connsiteY5" fmla="*/ 135755 h 466496"/>
                  <a:gd name="connsiteX0" fmla="*/ 0 w 831715"/>
                  <a:gd name="connsiteY0" fmla="*/ 82129 h 412870"/>
                  <a:gd name="connsiteX1" fmla="*/ 411830 w 831715"/>
                  <a:gd name="connsiteY1" fmla="*/ 412870 h 412870"/>
                  <a:gd name="connsiteX2" fmla="*/ 831715 w 831715"/>
                  <a:gd name="connsiteY2" fmla="*/ 86993 h 412870"/>
                  <a:gd name="connsiteX3" fmla="*/ 728459 w 831715"/>
                  <a:gd name="connsiteY3" fmla="*/ 2082 h 412870"/>
                  <a:gd name="connsiteX4" fmla="*/ 4332 w 831715"/>
                  <a:gd name="connsiteY4" fmla="*/ 0 h 412870"/>
                  <a:gd name="connsiteX5" fmla="*/ 0 w 831715"/>
                  <a:gd name="connsiteY5" fmla="*/ 82129 h 412870"/>
                  <a:gd name="connsiteX0" fmla="*/ 0 w 839623"/>
                  <a:gd name="connsiteY0" fmla="*/ 82129 h 412870"/>
                  <a:gd name="connsiteX1" fmla="*/ 411830 w 839623"/>
                  <a:gd name="connsiteY1" fmla="*/ 412870 h 412870"/>
                  <a:gd name="connsiteX2" fmla="*/ 831715 w 839623"/>
                  <a:gd name="connsiteY2" fmla="*/ 86993 h 412870"/>
                  <a:gd name="connsiteX3" fmla="*/ 839623 w 839623"/>
                  <a:gd name="connsiteY3" fmla="*/ 2083 h 412870"/>
                  <a:gd name="connsiteX4" fmla="*/ 4332 w 839623"/>
                  <a:gd name="connsiteY4" fmla="*/ 0 h 412870"/>
                  <a:gd name="connsiteX5" fmla="*/ 0 w 839623"/>
                  <a:gd name="connsiteY5" fmla="*/ 82129 h 412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39623" h="412870">
                    <a:moveTo>
                      <a:pt x="0" y="82129"/>
                    </a:moveTo>
                    <a:cubicBezTo>
                      <a:pt x="145105" y="80660"/>
                      <a:pt x="310905" y="152503"/>
                      <a:pt x="411830" y="412870"/>
                    </a:cubicBezTo>
                    <a:cubicBezTo>
                      <a:pt x="496288" y="146322"/>
                      <a:pt x="642482" y="86841"/>
                      <a:pt x="831715" y="86993"/>
                    </a:cubicBezTo>
                    <a:lnTo>
                      <a:pt x="839623" y="2083"/>
                    </a:lnTo>
                    <a:lnTo>
                      <a:pt x="4332" y="0"/>
                    </a:lnTo>
                    <a:lnTo>
                      <a:pt x="0" y="8212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33" name="Group 34"/>
            <p:cNvGrpSpPr/>
            <p:nvPr userDrawn="1"/>
          </p:nvGrpSpPr>
          <p:grpSpPr>
            <a:xfrm>
              <a:off x="140852" y="923636"/>
              <a:ext cx="2187677" cy="322918"/>
              <a:chOff x="-2" y="771525"/>
              <a:chExt cx="3076802" cy="454160"/>
            </a:xfrm>
          </p:grpSpPr>
          <p:sp>
            <p:nvSpPr>
              <p:cNvPr id="34" name="Flowchart: Process 33"/>
              <p:cNvSpPr/>
              <p:nvPr/>
            </p:nvSpPr>
            <p:spPr>
              <a:xfrm>
                <a:off x="-2" y="771525"/>
                <a:ext cx="3076802" cy="454160"/>
              </a:xfrm>
              <a:prstGeom prst="flowChartProcess">
                <a:avLst/>
              </a:prstGeom>
              <a:solidFill>
                <a:srgbClr val="585874"/>
              </a:solidFill>
              <a:ln>
                <a:noFill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2600" b="1" dirty="0">
                  <a:solidFill>
                    <a:schemeClr val="dk1"/>
                  </a:solidFill>
                  <a:latin typeface="Trebuchet MS" pitchFamily="34" charset="0"/>
                </a:endParaRPr>
              </a:p>
            </p:txBody>
          </p:sp>
          <p:grpSp>
            <p:nvGrpSpPr>
              <p:cNvPr id="35" name="Group 36"/>
              <p:cNvGrpSpPr/>
              <p:nvPr/>
            </p:nvGrpSpPr>
            <p:grpSpPr>
              <a:xfrm>
                <a:off x="188844" y="890429"/>
                <a:ext cx="273844" cy="216511"/>
                <a:chOff x="377952" y="1463835"/>
                <a:chExt cx="273844" cy="216511"/>
              </a:xfrm>
            </p:grpSpPr>
            <p:sp>
              <p:nvSpPr>
                <p:cNvPr id="36" name="Rectangle 35"/>
                <p:cNvSpPr/>
                <p:nvPr/>
              </p:nvSpPr>
              <p:spPr>
                <a:xfrm>
                  <a:off x="377952" y="1463835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7" name="Rectangle 36"/>
                <p:cNvSpPr/>
                <p:nvPr/>
              </p:nvSpPr>
              <p:spPr>
                <a:xfrm>
                  <a:off x="377952" y="1549231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" name="Rectangle 37"/>
                <p:cNvSpPr/>
                <p:nvPr/>
              </p:nvSpPr>
              <p:spPr>
                <a:xfrm>
                  <a:off x="377952" y="1634627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 &amp; 2 text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Title 1"/>
          <p:cNvSpPr>
            <a:spLocks noGrp="1"/>
          </p:cNvSpPr>
          <p:nvPr>
            <p:ph type="ctrTitle"/>
          </p:nvPr>
        </p:nvSpPr>
        <p:spPr>
          <a:xfrm>
            <a:off x="193962" y="925392"/>
            <a:ext cx="2073751" cy="457200"/>
          </a:xfrm>
          <a:prstGeom prst="rect">
            <a:avLst/>
          </a:prstGeom>
          <a:noFill/>
        </p:spPr>
        <p:txBody>
          <a:bodyPr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1400" kern="1200" dirty="0">
                <a:solidFill>
                  <a:srgbClr val="242748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0" name="Subtitle 2"/>
          <p:cNvSpPr>
            <a:spLocks noGrp="1"/>
          </p:cNvSpPr>
          <p:nvPr>
            <p:ph type="subTitle" idx="1"/>
          </p:nvPr>
        </p:nvSpPr>
        <p:spPr>
          <a:xfrm>
            <a:off x="2871090" y="1286163"/>
            <a:ext cx="5705983" cy="38100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1500">
                <a:solidFill>
                  <a:srgbClr val="242748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8" name="Content Placeholder 27"/>
          <p:cNvSpPr>
            <a:spLocks noGrp="1"/>
          </p:cNvSpPr>
          <p:nvPr>
            <p:ph sz="quarter" idx="23" hasCustomPrompt="1"/>
          </p:nvPr>
        </p:nvSpPr>
        <p:spPr>
          <a:xfrm>
            <a:off x="2866751" y="1724695"/>
            <a:ext cx="2847975" cy="1304925"/>
          </a:xfrm>
          <a:prstGeom prst="rect">
            <a:avLst/>
          </a:prstGeom>
          <a:solidFill>
            <a:srgbClr val="DBE6C4"/>
          </a:solidFill>
        </p:spPr>
        <p:txBody>
          <a:bodyPr anchor="b" anchorCtr="1">
            <a:noAutofit/>
          </a:bodyPr>
          <a:lstStyle>
            <a:lvl1pPr>
              <a:defRPr lang="en-US" sz="12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342900" lvl="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Insert Object</a:t>
            </a:r>
            <a:endParaRPr lang="en-US" dirty="0"/>
          </a:p>
        </p:txBody>
      </p:sp>
      <p:sp>
        <p:nvSpPr>
          <p:cNvPr id="29" name="Content Placeholder 27"/>
          <p:cNvSpPr>
            <a:spLocks noGrp="1"/>
          </p:cNvSpPr>
          <p:nvPr>
            <p:ph sz="quarter" idx="24" hasCustomPrompt="1"/>
          </p:nvPr>
        </p:nvSpPr>
        <p:spPr>
          <a:xfrm>
            <a:off x="5765802" y="1724695"/>
            <a:ext cx="2806700" cy="1304925"/>
          </a:xfrm>
          <a:prstGeom prst="rect">
            <a:avLst/>
          </a:prstGeom>
          <a:solidFill>
            <a:srgbClr val="DBE6C4"/>
          </a:solidFill>
        </p:spPr>
        <p:txBody>
          <a:bodyPr anchor="b" anchorCtr="1">
            <a:noAutofit/>
          </a:bodyPr>
          <a:lstStyle>
            <a:lvl1pPr>
              <a:defRPr lang="en-US" sz="12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342900" lvl="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Insert Object</a:t>
            </a:r>
            <a:endParaRPr lang="en-US" dirty="0"/>
          </a:p>
        </p:txBody>
      </p:sp>
      <p:sp>
        <p:nvSpPr>
          <p:cNvPr id="30" name="Content Placeholder 27"/>
          <p:cNvSpPr>
            <a:spLocks noGrp="1"/>
          </p:cNvSpPr>
          <p:nvPr>
            <p:ph sz="quarter" idx="25" hasCustomPrompt="1"/>
          </p:nvPr>
        </p:nvSpPr>
        <p:spPr>
          <a:xfrm>
            <a:off x="295001" y="1410371"/>
            <a:ext cx="1886225" cy="808954"/>
          </a:xfrm>
          <a:prstGeom prst="rect">
            <a:avLst/>
          </a:prstGeom>
          <a:solidFill>
            <a:srgbClr val="DBE6C4"/>
          </a:solidFill>
        </p:spPr>
        <p:txBody>
          <a:bodyPr anchor="b" anchorCtr="1">
            <a:noAutofit/>
          </a:bodyPr>
          <a:lstStyle>
            <a:lvl1pPr>
              <a:defRPr lang="en-US" sz="12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342900" lvl="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Insert Object</a:t>
            </a:r>
            <a:endParaRPr lang="en-US" dirty="0"/>
          </a:p>
        </p:txBody>
      </p:sp>
      <p:sp>
        <p:nvSpPr>
          <p:cNvPr id="31" name="Content Placeholder 27"/>
          <p:cNvSpPr>
            <a:spLocks noGrp="1"/>
          </p:cNvSpPr>
          <p:nvPr>
            <p:ph sz="quarter" idx="26" hasCustomPrompt="1"/>
          </p:nvPr>
        </p:nvSpPr>
        <p:spPr>
          <a:xfrm>
            <a:off x="298450" y="3277270"/>
            <a:ext cx="1892300" cy="828005"/>
          </a:xfrm>
          <a:prstGeom prst="rect">
            <a:avLst/>
          </a:prstGeom>
          <a:solidFill>
            <a:srgbClr val="DBE6C4"/>
          </a:solidFill>
        </p:spPr>
        <p:txBody>
          <a:bodyPr anchor="b" anchorCtr="1">
            <a:noAutofit/>
          </a:bodyPr>
          <a:lstStyle>
            <a:lvl1pPr>
              <a:defRPr lang="en-US" sz="12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342900" lvl="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Insert Object</a:t>
            </a:r>
            <a:endParaRPr lang="en-US" dirty="0"/>
          </a:p>
        </p:txBody>
      </p:sp>
      <p:sp>
        <p:nvSpPr>
          <p:cNvPr id="34" name="Table Placeholder 33"/>
          <p:cNvSpPr>
            <a:spLocks noGrp="1"/>
          </p:cNvSpPr>
          <p:nvPr>
            <p:ph type="tbl" sz="quarter" idx="28"/>
          </p:nvPr>
        </p:nvSpPr>
        <p:spPr>
          <a:xfrm>
            <a:off x="2876551" y="4343399"/>
            <a:ext cx="2819400" cy="1133475"/>
          </a:xfrm>
          <a:prstGeom prst="rect">
            <a:avLst/>
          </a:prstGeom>
        </p:spPr>
        <p:txBody>
          <a:bodyPr anchor="b" anchorCtr="1"/>
          <a:lstStyle>
            <a:lvl1pPr marL="1143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2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35" name="Table Placeholder 33"/>
          <p:cNvSpPr>
            <a:spLocks noGrp="1"/>
          </p:cNvSpPr>
          <p:nvPr>
            <p:ph type="tbl" sz="quarter" idx="29"/>
          </p:nvPr>
        </p:nvSpPr>
        <p:spPr>
          <a:xfrm>
            <a:off x="5743575" y="4343399"/>
            <a:ext cx="2819400" cy="1133475"/>
          </a:xfrm>
          <a:prstGeom prst="rect">
            <a:avLst/>
          </a:prstGeom>
        </p:spPr>
        <p:txBody>
          <a:bodyPr anchor="b" anchorCtr="1"/>
          <a:lstStyle>
            <a:lvl1pPr marL="1143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2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36" name="Table Placeholder 33"/>
          <p:cNvSpPr>
            <a:spLocks noGrp="1"/>
          </p:cNvSpPr>
          <p:nvPr>
            <p:ph type="tbl" sz="quarter" idx="30"/>
          </p:nvPr>
        </p:nvSpPr>
        <p:spPr>
          <a:xfrm>
            <a:off x="304802" y="5257799"/>
            <a:ext cx="1866900" cy="1600201"/>
          </a:xfrm>
          <a:prstGeom prst="rect">
            <a:avLst/>
          </a:prstGeom>
        </p:spPr>
        <p:txBody>
          <a:bodyPr anchor="b" anchorCtr="1"/>
          <a:lstStyle>
            <a:lvl1pPr marL="1143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2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37" name="Text Placeholder 45"/>
          <p:cNvSpPr>
            <a:spLocks noGrp="1"/>
          </p:cNvSpPr>
          <p:nvPr>
            <p:ph type="body" sz="quarter" idx="17" hasCustomPrompt="1"/>
          </p:nvPr>
        </p:nvSpPr>
        <p:spPr>
          <a:xfrm>
            <a:off x="301752" y="2257425"/>
            <a:ext cx="1865376" cy="990600"/>
          </a:xfrm>
          <a:prstGeom prst="rect">
            <a:avLst/>
          </a:prstGeom>
        </p:spPr>
        <p:txBody>
          <a:bodyPr/>
          <a:lstStyle>
            <a:lvl1pPr marL="119063" indent="-119063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0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28600" indent="-109538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9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3429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900" kern="12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H2</a:t>
            </a:r>
          </a:p>
          <a:p>
            <a:pPr lvl="1"/>
            <a:r>
              <a:rPr lang="en-US" dirty="0" smtClean="0"/>
              <a:t>Paragraph text</a:t>
            </a:r>
          </a:p>
          <a:p>
            <a:pPr lvl="2"/>
            <a:r>
              <a:rPr lang="en-US" dirty="0" smtClean="0"/>
              <a:t>Bullet text</a:t>
            </a:r>
            <a:endParaRPr lang="en-US" dirty="0"/>
          </a:p>
        </p:txBody>
      </p:sp>
      <p:sp>
        <p:nvSpPr>
          <p:cNvPr id="38" name="Text Placeholder 45"/>
          <p:cNvSpPr>
            <a:spLocks noGrp="1"/>
          </p:cNvSpPr>
          <p:nvPr>
            <p:ph type="body" sz="quarter" idx="31" hasCustomPrompt="1"/>
          </p:nvPr>
        </p:nvSpPr>
        <p:spPr>
          <a:xfrm>
            <a:off x="303213" y="4143375"/>
            <a:ext cx="1865376" cy="990600"/>
          </a:xfrm>
          <a:prstGeom prst="rect">
            <a:avLst/>
          </a:prstGeom>
        </p:spPr>
        <p:txBody>
          <a:bodyPr/>
          <a:lstStyle>
            <a:lvl1pPr marL="119063" indent="-119063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0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28600" indent="-109538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9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3429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900" kern="12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H2</a:t>
            </a:r>
          </a:p>
          <a:p>
            <a:pPr lvl="1"/>
            <a:r>
              <a:rPr lang="en-US" dirty="0" smtClean="0"/>
              <a:t>Paragraph text</a:t>
            </a:r>
          </a:p>
          <a:p>
            <a:pPr lvl="2"/>
            <a:r>
              <a:rPr lang="en-US" dirty="0" smtClean="0"/>
              <a:t>Bullet text</a:t>
            </a:r>
            <a:endParaRPr lang="en-US" dirty="0"/>
          </a:p>
        </p:txBody>
      </p:sp>
      <p:sp>
        <p:nvSpPr>
          <p:cNvPr id="39" name="Text Placeholder 45"/>
          <p:cNvSpPr>
            <a:spLocks noGrp="1"/>
          </p:cNvSpPr>
          <p:nvPr>
            <p:ph type="body" sz="quarter" idx="32" hasCustomPrompt="1"/>
          </p:nvPr>
        </p:nvSpPr>
        <p:spPr>
          <a:xfrm>
            <a:off x="2871216" y="3038856"/>
            <a:ext cx="2843784" cy="1152144"/>
          </a:xfrm>
          <a:prstGeom prst="rect">
            <a:avLst/>
          </a:prstGeom>
        </p:spPr>
        <p:txBody>
          <a:bodyPr/>
          <a:lstStyle>
            <a:lvl1pPr marL="119063" indent="-119063">
              <a:defRPr sz="1100"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28600" indent="-109538">
              <a:defRPr sz="1000" baseline="0"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342900" indent="-114300">
              <a:defRPr sz="1000"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H2</a:t>
            </a:r>
          </a:p>
          <a:p>
            <a:pPr lvl="1"/>
            <a:r>
              <a:rPr lang="en-US" dirty="0" smtClean="0"/>
              <a:t>Paragraph text</a:t>
            </a:r>
          </a:p>
          <a:p>
            <a:pPr lvl="2"/>
            <a:r>
              <a:rPr lang="en-US" dirty="0" smtClean="0"/>
              <a:t>Bullet  text</a:t>
            </a:r>
            <a:endParaRPr lang="en-US" dirty="0"/>
          </a:p>
        </p:txBody>
      </p:sp>
      <p:sp>
        <p:nvSpPr>
          <p:cNvPr id="40" name="Text Placeholder 45"/>
          <p:cNvSpPr>
            <a:spLocks noGrp="1"/>
          </p:cNvSpPr>
          <p:nvPr>
            <p:ph type="body" sz="quarter" idx="33" hasCustomPrompt="1"/>
          </p:nvPr>
        </p:nvSpPr>
        <p:spPr>
          <a:xfrm>
            <a:off x="5762625" y="3038856"/>
            <a:ext cx="2819400" cy="1152144"/>
          </a:xfrm>
          <a:prstGeom prst="rect">
            <a:avLst/>
          </a:prstGeom>
        </p:spPr>
        <p:txBody>
          <a:bodyPr/>
          <a:lstStyle>
            <a:lvl1pPr marL="119063" indent="-119063">
              <a:defRPr sz="1100"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28600" indent="-109538">
              <a:defRPr sz="1000" baseline="0"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342900" indent="-114300">
              <a:defRPr sz="1000"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H2</a:t>
            </a:r>
          </a:p>
          <a:p>
            <a:pPr lvl="1"/>
            <a:r>
              <a:rPr lang="en-US" dirty="0" smtClean="0"/>
              <a:t>Paragraph text</a:t>
            </a:r>
          </a:p>
          <a:p>
            <a:pPr lvl="2"/>
            <a:r>
              <a:rPr lang="en-US" dirty="0" smtClean="0"/>
              <a:t>Bullet  text</a:t>
            </a:r>
            <a:endParaRPr lang="en-US" dirty="0"/>
          </a:p>
        </p:txBody>
      </p:sp>
      <p:grpSp>
        <p:nvGrpSpPr>
          <p:cNvPr id="41" name="Group 72"/>
          <p:cNvGrpSpPr/>
          <p:nvPr userDrawn="1"/>
        </p:nvGrpSpPr>
        <p:grpSpPr>
          <a:xfrm>
            <a:off x="140852" y="554828"/>
            <a:ext cx="8826701" cy="724418"/>
            <a:chOff x="140852" y="923636"/>
            <a:chExt cx="8826701" cy="724418"/>
          </a:xfrm>
        </p:grpSpPr>
        <p:grpSp>
          <p:nvGrpSpPr>
            <p:cNvPr id="42" name="Group 12"/>
            <p:cNvGrpSpPr/>
            <p:nvPr/>
          </p:nvGrpSpPr>
          <p:grpSpPr>
            <a:xfrm>
              <a:off x="2459187" y="1282395"/>
              <a:ext cx="6508366" cy="365659"/>
              <a:chOff x="-1" y="711412"/>
              <a:chExt cx="9153525" cy="514273"/>
            </a:xfrm>
          </p:grpSpPr>
          <p:sp>
            <p:nvSpPr>
              <p:cNvPr id="53" name="Flowchart: Process 52"/>
              <p:cNvSpPr/>
              <p:nvPr/>
            </p:nvSpPr>
            <p:spPr>
              <a:xfrm>
                <a:off x="-1" y="771525"/>
                <a:ext cx="9153525" cy="454160"/>
              </a:xfrm>
              <a:prstGeom prst="flowChartProcess">
                <a:avLst/>
              </a:prstGeom>
              <a:solidFill>
                <a:srgbClr val="585874"/>
              </a:solidFill>
              <a:ln>
                <a:noFill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algn="ctr" defTabSz="914400" rtl="0" eaLnBrk="1" latinLnBrk="0" hangingPunct="1"/>
                <a:endParaRPr lang="en-US" sz="2600" b="1" kern="1200" dirty="0">
                  <a:solidFill>
                    <a:schemeClr val="dk1"/>
                  </a:solidFill>
                  <a:latin typeface="Trebuchet MS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54" name="Group 19"/>
              <p:cNvGrpSpPr/>
              <p:nvPr/>
            </p:nvGrpSpPr>
            <p:grpSpPr>
              <a:xfrm>
                <a:off x="188844" y="890429"/>
                <a:ext cx="273844" cy="216511"/>
                <a:chOff x="377952" y="1463835"/>
                <a:chExt cx="273844" cy="216511"/>
              </a:xfrm>
            </p:grpSpPr>
            <p:sp>
              <p:nvSpPr>
                <p:cNvPr id="56" name="Rectangle 55"/>
                <p:cNvSpPr/>
                <p:nvPr/>
              </p:nvSpPr>
              <p:spPr>
                <a:xfrm>
                  <a:off x="377952" y="1463835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7" name="Rectangle 56"/>
                <p:cNvSpPr/>
                <p:nvPr/>
              </p:nvSpPr>
              <p:spPr>
                <a:xfrm>
                  <a:off x="377952" y="1549231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8" name="Rectangle 57"/>
                <p:cNvSpPr/>
                <p:nvPr/>
              </p:nvSpPr>
              <p:spPr>
                <a:xfrm>
                  <a:off x="377952" y="1634627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55" name="Freeform 54"/>
              <p:cNvSpPr/>
              <p:nvPr/>
            </p:nvSpPr>
            <p:spPr>
              <a:xfrm>
                <a:off x="534850" y="711412"/>
                <a:ext cx="461548" cy="226958"/>
              </a:xfrm>
              <a:custGeom>
                <a:avLst/>
                <a:gdLst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831715"/>
                  <a:gd name="connsiteY0" fmla="*/ 0 h 330741"/>
                  <a:gd name="connsiteX1" fmla="*/ 398834 w 831715"/>
                  <a:gd name="connsiteY1" fmla="*/ 330741 h 330741"/>
                  <a:gd name="connsiteX2" fmla="*/ 831715 w 831715"/>
                  <a:gd name="connsiteY2" fmla="*/ 4864 h 330741"/>
                  <a:gd name="connsiteX3" fmla="*/ 0 w 831715"/>
                  <a:gd name="connsiteY3" fmla="*/ 0 h 330741"/>
                  <a:gd name="connsiteX0" fmla="*/ 0 w 831715"/>
                  <a:gd name="connsiteY0" fmla="*/ 1469 h 332210"/>
                  <a:gd name="connsiteX1" fmla="*/ 398834 w 831715"/>
                  <a:gd name="connsiteY1" fmla="*/ 332210 h 332210"/>
                  <a:gd name="connsiteX2" fmla="*/ 831715 w 831715"/>
                  <a:gd name="connsiteY2" fmla="*/ 6333 h 332210"/>
                  <a:gd name="connsiteX3" fmla="*/ 0 w 831715"/>
                  <a:gd name="connsiteY3" fmla="*/ 1469 h 332210"/>
                  <a:gd name="connsiteX0" fmla="*/ 0 w 831715"/>
                  <a:gd name="connsiteY0" fmla="*/ 1469 h 332210"/>
                  <a:gd name="connsiteX1" fmla="*/ 411830 w 831715"/>
                  <a:gd name="connsiteY1" fmla="*/ 332210 h 332210"/>
                  <a:gd name="connsiteX2" fmla="*/ 831715 w 831715"/>
                  <a:gd name="connsiteY2" fmla="*/ 6333 h 332210"/>
                  <a:gd name="connsiteX3" fmla="*/ 0 w 831715"/>
                  <a:gd name="connsiteY3" fmla="*/ 1469 h 332210"/>
                  <a:gd name="connsiteX0" fmla="*/ 0 w 831715"/>
                  <a:gd name="connsiteY0" fmla="*/ 144420 h 475161"/>
                  <a:gd name="connsiteX1" fmla="*/ 411830 w 831715"/>
                  <a:gd name="connsiteY1" fmla="*/ 475161 h 475161"/>
                  <a:gd name="connsiteX2" fmla="*/ 831715 w 831715"/>
                  <a:gd name="connsiteY2" fmla="*/ 149284 h 475161"/>
                  <a:gd name="connsiteX3" fmla="*/ 667106 w 831715"/>
                  <a:gd name="connsiteY3" fmla="*/ 0 h 475161"/>
                  <a:gd name="connsiteX4" fmla="*/ 0 w 831715"/>
                  <a:gd name="connsiteY4" fmla="*/ 144420 h 475161"/>
                  <a:gd name="connsiteX0" fmla="*/ 0 w 831715"/>
                  <a:gd name="connsiteY0" fmla="*/ 144420 h 475161"/>
                  <a:gd name="connsiteX1" fmla="*/ 411830 w 831715"/>
                  <a:gd name="connsiteY1" fmla="*/ 475161 h 475161"/>
                  <a:gd name="connsiteX2" fmla="*/ 831715 w 831715"/>
                  <a:gd name="connsiteY2" fmla="*/ 149284 h 475161"/>
                  <a:gd name="connsiteX3" fmla="*/ 667106 w 831715"/>
                  <a:gd name="connsiteY3" fmla="*/ 0 h 475161"/>
                  <a:gd name="connsiteX4" fmla="*/ 4331 w 831715"/>
                  <a:gd name="connsiteY4" fmla="*/ 8665 h 475161"/>
                  <a:gd name="connsiteX5" fmla="*/ 0 w 831715"/>
                  <a:gd name="connsiteY5" fmla="*/ 144420 h 475161"/>
                  <a:gd name="connsiteX0" fmla="*/ 0 w 831715"/>
                  <a:gd name="connsiteY0" fmla="*/ 140087 h 470828"/>
                  <a:gd name="connsiteX1" fmla="*/ 411830 w 831715"/>
                  <a:gd name="connsiteY1" fmla="*/ 470828 h 470828"/>
                  <a:gd name="connsiteX2" fmla="*/ 831715 w 831715"/>
                  <a:gd name="connsiteY2" fmla="*/ 144951 h 470828"/>
                  <a:gd name="connsiteX3" fmla="*/ 831715 w 831715"/>
                  <a:gd name="connsiteY3" fmla="*/ 0 h 470828"/>
                  <a:gd name="connsiteX4" fmla="*/ 4331 w 831715"/>
                  <a:gd name="connsiteY4" fmla="*/ 4332 h 470828"/>
                  <a:gd name="connsiteX5" fmla="*/ 0 w 831715"/>
                  <a:gd name="connsiteY5" fmla="*/ 140087 h 470828"/>
                  <a:gd name="connsiteX0" fmla="*/ 0 w 831715"/>
                  <a:gd name="connsiteY0" fmla="*/ 135755 h 466496"/>
                  <a:gd name="connsiteX1" fmla="*/ 411830 w 831715"/>
                  <a:gd name="connsiteY1" fmla="*/ 466496 h 466496"/>
                  <a:gd name="connsiteX2" fmla="*/ 831715 w 831715"/>
                  <a:gd name="connsiteY2" fmla="*/ 140619 h 466496"/>
                  <a:gd name="connsiteX3" fmla="*/ 728459 w 831715"/>
                  <a:gd name="connsiteY3" fmla="*/ 55708 h 466496"/>
                  <a:gd name="connsiteX4" fmla="*/ 4331 w 831715"/>
                  <a:gd name="connsiteY4" fmla="*/ 0 h 466496"/>
                  <a:gd name="connsiteX5" fmla="*/ 0 w 831715"/>
                  <a:gd name="connsiteY5" fmla="*/ 135755 h 466496"/>
                  <a:gd name="connsiteX0" fmla="*/ 0 w 831715"/>
                  <a:gd name="connsiteY0" fmla="*/ 82129 h 412870"/>
                  <a:gd name="connsiteX1" fmla="*/ 411830 w 831715"/>
                  <a:gd name="connsiteY1" fmla="*/ 412870 h 412870"/>
                  <a:gd name="connsiteX2" fmla="*/ 831715 w 831715"/>
                  <a:gd name="connsiteY2" fmla="*/ 86993 h 412870"/>
                  <a:gd name="connsiteX3" fmla="*/ 728459 w 831715"/>
                  <a:gd name="connsiteY3" fmla="*/ 2082 h 412870"/>
                  <a:gd name="connsiteX4" fmla="*/ 4332 w 831715"/>
                  <a:gd name="connsiteY4" fmla="*/ 0 h 412870"/>
                  <a:gd name="connsiteX5" fmla="*/ 0 w 831715"/>
                  <a:gd name="connsiteY5" fmla="*/ 82129 h 412870"/>
                  <a:gd name="connsiteX0" fmla="*/ 0 w 839623"/>
                  <a:gd name="connsiteY0" fmla="*/ 82129 h 412870"/>
                  <a:gd name="connsiteX1" fmla="*/ 411830 w 839623"/>
                  <a:gd name="connsiteY1" fmla="*/ 412870 h 412870"/>
                  <a:gd name="connsiteX2" fmla="*/ 831715 w 839623"/>
                  <a:gd name="connsiteY2" fmla="*/ 86993 h 412870"/>
                  <a:gd name="connsiteX3" fmla="*/ 839623 w 839623"/>
                  <a:gd name="connsiteY3" fmla="*/ 2083 h 412870"/>
                  <a:gd name="connsiteX4" fmla="*/ 4332 w 839623"/>
                  <a:gd name="connsiteY4" fmla="*/ 0 h 412870"/>
                  <a:gd name="connsiteX5" fmla="*/ 0 w 839623"/>
                  <a:gd name="connsiteY5" fmla="*/ 82129 h 412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39623" h="412870">
                    <a:moveTo>
                      <a:pt x="0" y="82129"/>
                    </a:moveTo>
                    <a:cubicBezTo>
                      <a:pt x="145105" y="80660"/>
                      <a:pt x="310905" y="152503"/>
                      <a:pt x="411830" y="412870"/>
                    </a:cubicBezTo>
                    <a:cubicBezTo>
                      <a:pt x="496288" y="146322"/>
                      <a:pt x="642482" y="86841"/>
                      <a:pt x="831715" y="86993"/>
                    </a:cubicBezTo>
                    <a:lnTo>
                      <a:pt x="839623" y="2083"/>
                    </a:lnTo>
                    <a:lnTo>
                      <a:pt x="4332" y="0"/>
                    </a:lnTo>
                    <a:lnTo>
                      <a:pt x="0" y="8212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44" name="Group 34"/>
            <p:cNvGrpSpPr/>
            <p:nvPr userDrawn="1"/>
          </p:nvGrpSpPr>
          <p:grpSpPr>
            <a:xfrm>
              <a:off x="140852" y="923636"/>
              <a:ext cx="2187677" cy="322918"/>
              <a:chOff x="-2" y="771525"/>
              <a:chExt cx="3076802" cy="454160"/>
            </a:xfrm>
          </p:grpSpPr>
          <p:sp>
            <p:nvSpPr>
              <p:cNvPr id="47" name="Flowchart: Process 46"/>
              <p:cNvSpPr/>
              <p:nvPr/>
            </p:nvSpPr>
            <p:spPr>
              <a:xfrm>
                <a:off x="-2" y="771525"/>
                <a:ext cx="3076802" cy="454160"/>
              </a:xfrm>
              <a:prstGeom prst="flowChartProcess">
                <a:avLst/>
              </a:prstGeom>
              <a:solidFill>
                <a:srgbClr val="585874"/>
              </a:solidFill>
              <a:ln>
                <a:noFill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2600" b="1" dirty="0">
                  <a:solidFill>
                    <a:schemeClr val="dk1"/>
                  </a:solidFill>
                  <a:latin typeface="Trebuchet MS" pitchFamily="34" charset="0"/>
                </a:endParaRPr>
              </a:p>
            </p:txBody>
          </p:sp>
          <p:grpSp>
            <p:nvGrpSpPr>
              <p:cNvPr id="48" name="Group 36"/>
              <p:cNvGrpSpPr/>
              <p:nvPr/>
            </p:nvGrpSpPr>
            <p:grpSpPr>
              <a:xfrm>
                <a:off x="188844" y="890429"/>
                <a:ext cx="273844" cy="216511"/>
                <a:chOff x="377952" y="1463835"/>
                <a:chExt cx="273844" cy="216511"/>
              </a:xfrm>
            </p:grpSpPr>
            <p:sp>
              <p:nvSpPr>
                <p:cNvPr id="49" name="Rectangle 48"/>
                <p:cNvSpPr/>
                <p:nvPr/>
              </p:nvSpPr>
              <p:spPr>
                <a:xfrm>
                  <a:off x="377952" y="1463835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0" name="Rectangle 49"/>
                <p:cNvSpPr/>
                <p:nvPr/>
              </p:nvSpPr>
              <p:spPr>
                <a:xfrm>
                  <a:off x="377952" y="1549231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2" name="Rectangle 51"/>
                <p:cNvSpPr/>
                <p:nvPr/>
              </p:nvSpPr>
              <p:spPr>
                <a:xfrm>
                  <a:off x="377952" y="1634627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&amp; 3 text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3962" y="925392"/>
            <a:ext cx="2073751" cy="457200"/>
          </a:xfrm>
          <a:prstGeom prst="rect">
            <a:avLst/>
          </a:prstGeom>
          <a:noFill/>
        </p:spPr>
        <p:txBody>
          <a:bodyPr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1450" kern="1200" dirty="0">
                <a:solidFill>
                  <a:srgbClr val="24274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71090" y="1286163"/>
            <a:ext cx="5705983" cy="38100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rgbClr val="242748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32" name="Content Placeholder 31"/>
          <p:cNvSpPr>
            <a:spLocks noGrp="1"/>
          </p:cNvSpPr>
          <p:nvPr>
            <p:ph sz="quarter" idx="32" hasCustomPrompt="1"/>
          </p:nvPr>
        </p:nvSpPr>
        <p:spPr>
          <a:xfrm>
            <a:off x="2895011" y="1718217"/>
            <a:ext cx="1847851" cy="1314450"/>
          </a:xfrm>
          <a:prstGeom prst="rect">
            <a:avLst/>
          </a:prstGeom>
          <a:solidFill>
            <a:srgbClr val="DBE6C4"/>
          </a:solidFill>
        </p:spPr>
        <p:txBody>
          <a:bodyPr anchor="b" anchorCtr="1">
            <a:noAutofit/>
          </a:bodyPr>
          <a:lstStyle>
            <a:lvl1pPr>
              <a:defRPr lang="en-US" sz="12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342900" lvl="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Insert Object</a:t>
            </a:r>
          </a:p>
        </p:txBody>
      </p:sp>
      <p:sp>
        <p:nvSpPr>
          <p:cNvPr id="33" name="Content Placeholder 31"/>
          <p:cNvSpPr>
            <a:spLocks noGrp="1"/>
          </p:cNvSpPr>
          <p:nvPr>
            <p:ph sz="quarter" idx="33" hasCustomPrompt="1"/>
          </p:nvPr>
        </p:nvSpPr>
        <p:spPr>
          <a:xfrm>
            <a:off x="4789389" y="1718217"/>
            <a:ext cx="1847851" cy="1314450"/>
          </a:xfrm>
          <a:prstGeom prst="rect">
            <a:avLst/>
          </a:prstGeom>
          <a:solidFill>
            <a:srgbClr val="DBE6C4"/>
          </a:solidFill>
        </p:spPr>
        <p:txBody>
          <a:bodyPr anchor="b" anchorCtr="1">
            <a:noAutofit/>
          </a:bodyPr>
          <a:lstStyle>
            <a:lvl1pPr>
              <a:defRPr lang="en-US" sz="12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342900" lvl="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Insert Object</a:t>
            </a:r>
          </a:p>
        </p:txBody>
      </p:sp>
      <p:sp>
        <p:nvSpPr>
          <p:cNvPr id="34" name="Content Placeholder 31"/>
          <p:cNvSpPr>
            <a:spLocks noGrp="1"/>
          </p:cNvSpPr>
          <p:nvPr>
            <p:ph sz="quarter" idx="34" hasCustomPrompt="1"/>
          </p:nvPr>
        </p:nvSpPr>
        <p:spPr>
          <a:xfrm>
            <a:off x="6705009" y="1718217"/>
            <a:ext cx="1847851" cy="1314450"/>
          </a:xfrm>
          <a:prstGeom prst="rect">
            <a:avLst/>
          </a:prstGeom>
          <a:solidFill>
            <a:srgbClr val="DBE6C4"/>
          </a:solidFill>
        </p:spPr>
        <p:txBody>
          <a:bodyPr anchor="b" anchorCtr="1">
            <a:noAutofit/>
          </a:bodyPr>
          <a:lstStyle>
            <a:lvl1pPr>
              <a:defRPr lang="en-US" sz="1200" b="1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342900" lvl="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Insert Object</a:t>
            </a:r>
          </a:p>
        </p:txBody>
      </p:sp>
      <p:sp>
        <p:nvSpPr>
          <p:cNvPr id="37" name="Content Placeholder 31"/>
          <p:cNvSpPr>
            <a:spLocks noGrp="1"/>
          </p:cNvSpPr>
          <p:nvPr>
            <p:ph sz="quarter" idx="35" hasCustomPrompt="1"/>
          </p:nvPr>
        </p:nvSpPr>
        <p:spPr>
          <a:xfrm>
            <a:off x="313736" y="1432468"/>
            <a:ext cx="1896064" cy="491581"/>
          </a:xfrm>
          <a:prstGeom prst="rect">
            <a:avLst/>
          </a:prstGeom>
          <a:solidFill>
            <a:srgbClr val="DBE6C4"/>
          </a:solidFill>
        </p:spPr>
        <p:txBody>
          <a:bodyPr anchor="b" anchorCtr="1">
            <a:noAutofit/>
          </a:bodyPr>
          <a:lstStyle>
            <a:lvl1pPr>
              <a:defRPr lang="en-US" sz="12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342900" lvl="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Insert Object</a:t>
            </a:r>
          </a:p>
        </p:txBody>
      </p:sp>
      <p:sp>
        <p:nvSpPr>
          <p:cNvPr id="38" name="Content Placeholder 31"/>
          <p:cNvSpPr>
            <a:spLocks noGrp="1"/>
          </p:cNvSpPr>
          <p:nvPr>
            <p:ph sz="quarter" idx="36" hasCustomPrompt="1"/>
          </p:nvPr>
        </p:nvSpPr>
        <p:spPr>
          <a:xfrm>
            <a:off x="313736" y="2861218"/>
            <a:ext cx="1896064" cy="491581"/>
          </a:xfrm>
          <a:prstGeom prst="rect">
            <a:avLst/>
          </a:prstGeom>
          <a:solidFill>
            <a:srgbClr val="DBE6C4"/>
          </a:solidFill>
        </p:spPr>
        <p:txBody>
          <a:bodyPr anchor="b" anchorCtr="1">
            <a:noAutofit/>
          </a:bodyPr>
          <a:lstStyle>
            <a:lvl1pPr>
              <a:defRPr lang="en-US" sz="12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342900" lvl="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Insert Object</a:t>
            </a:r>
          </a:p>
        </p:txBody>
      </p:sp>
      <p:sp>
        <p:nvSpPr>
          <p:cNvPr id="39" name="Content Placeholder 31"/>
          <p:cNvSpPr>
            <a:spLocks noGrp="1"/>
          </p:cNvSpPr>
          <p:nvPr>
            <p:ph sz="quarter" idx="37" hasCustomPrompt="1"/>
          </p:nvPr>
        </p:nvSpPr>
        <p:spPr>
          <a:xfrm>
            <a:off x="313736" y="4299493"/>
            <a:ext cx="1896064" cy="491581"/>
          </a:xfrm>
          <a:prstGeom prst="rect">
            <a:avLst/>
          </a:prstGeom>
          <a:solidFill>
            <a:srgbClr val="DBE6C4"/>
          </a:solidFill>
        </p:spPr>
        <p:txBody>
          <a:bodyPr anchor="b" anchorCtr="1">
            <a:noAutofit/>
          </a:bodyPr>
          <a:lstStyle>
            <a:lvl1pPr>
              <a:defRPr lang="en-US" sz="12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342900" lvl="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Insert Object</a:t>
            </a:r>
          </a:p>
        </p:txBody>
      </p:sp>
      <p:sp>
        <p:nvSpPr>
          <p:cNvPr id="45" name="Table Placeholder 33"/>
          <p:cNvSpPr>
            <a:spLocks noGrp="1"/>
          </p:cNvSpPr>
          <p:nvPr>
            <p:ph type="tbl" sz="quarter" idx="38"/>
          </p:nvPr>
        </p:nvSpPr>
        <p:spPr>
          <a:xfrm>
            <a:off x="2876550" y="4429124"/>
            <a:ext cx="1866899" cy="1133475"/>
          </a:xfrm>
          <a:prstGeom prst="rect">
            <a:avLst/>
          </a:prstGeom>
          <a:solidFill>
            <a:schemeClr val="bg2"/>
          </a:solidFill>
        </p:spPr>
        <p:txBody>
          <a:bodyPr anchor="b" anchorCtr="1"/>
          <a:lstStyle>
            <a:lvl1pPr marL="1143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2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50" name="Table Placeholder 33"/>
          <p:cNvSpPr>
            <a:spLocks noGrp="1"/>
          </p:cNvSpPr>
          <p:nvPr>
            <p:ph type="tbl" sz="quarter" idx="39"/>
          </p:nvPr>
        </p:nvSpPr>
        <p:spPr>
          <a:xfrm>
            <a:off x="304802" y="5791199"/>
            <a:ext cx="1866900" cy="914401"/>
          </a:xfrm>
          <a:prstGeom prst="rect">
            <a:avLst/>
          </a:prstGeom>
          <a:solidFill>
            <a:schemeClr val="bg2"/>
          </a:solidFill>
        </p:spPr>
        <p:txBody>
          <a:bodyPr anchor="b" anchorCtr="1"/>
          <a:lstStyle>
            <a:lvl1pPr marL="1143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2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51" name="Table Placeholder 33"/>
          <p:cNvSpPr>
            <a:spLocks noGrp="1"/>
          </p:cNvSpPr>
          <p:nvPr>
            <p:ph type="tbl" sz="quarter" idx="40"/>
          </p:nvPr>
        </p:nvSpPr>
        <p:spPr>
          <a:xfrm>
            <a:off x="4789390" y="4429124"/>
            <a:ext cx="1866899" cy="1133475"/>
          </a:xfrm>
          <a:prstGeom prst="rect">
            <a:avLst/>
          </a:prstGeom>
          <a:solidFill>
            <a:schemeClr val="bg2"/>
          </a:solidFill>
        </p:spPr>
        <p:txBody>
          <a:bodyPr anchor="b" anchorCtr="1"/>
          <a:lstStyle>
            <a:lvl1pPr marL="1143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2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52" name="Table Placeholder 33"/>
          <p:cNvSpPr>
            <a:spLocks noGrp="1"/>
          </p:cNvSpPr>
          <p:nvPr>
            <p:ph type="tbl" sz="quarter" idx="41"/>
          </p:nvPr>
        </p:nvSpPr>
        <p:spPr>
          <a:xfrm>
            <a:off x="6694390" y="4429124"/>
            <a:ext cx="1866899" cy="1133475"/>
          </a:xfrm>
          <a:prstGeom prst="rect">
            <a:avLst/>
          </a:prstGeom>
          <a:solidFill>
            <a:schemeClr val="bg2"/>
          </a:solidFill>
        </p:spPr>
        <p:txBody>
          <a:bodyPr anchor="b" anchorCtr="1"/>
          <a:lstStyle>
            <a:lvl1pPr marL="1143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2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36" name="Text Placeholder 45"/>
          <p:cNvSpPr>
            <a:spLocks noGrp="1"/>
          </p:cNvSpPr>
          <p:nvPr>
            <p:ph type="body" sz="quarter" idx="17" hasCustomPrompt="1"/>
          </p:nvPr>
        </p:nvSpPr>
        <p:spPr>
          <a:xfrm>
            <a:off x="312738" y="1952625"/>
            <a:ext cx="1865376" cy="866775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119063" indent="-119063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0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28600" indent="-109538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9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3429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900" kern="12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H2</a:t>
            </a:r>
          </a:p>
          <a:p>
            <a:pPr lvl="1"/>
            <a:r>
              <a:rPr lang="en-US" dirty="0" smtClean="0"/>
              <a:t>Paragraph text</a:t>
            </a:r>
          </a:p>
          <a:p>
            <a:pPr lvl="2"/>
            <a:r>
              <a:rPr lang="en-US" dirty="0" smtClean="0"/>
              <a:t>Bullet text</a:t>
            </a:r>
            <a:endParaRPr lang="en-US" dirty="0"/>
          </a:p>
        </p:txBody>
      </p:sp>
      <p:sp>
        <p:nvSpPr>
          <p:cNvPr id="44" name="Text Placeholder 45"/>
          <p:cNvSpPr>
            <a:spLocks noGrp="1"/>
          </p:cNvSpPr>
          <p:nvPr>
            <p:ph type="body" sz="quarter" idx="31" hasCustomPrompt="1"/>
          </p:nvPr>
        </p:nvSpPr>
        <p:spPr>
          <a:xfrm>
            <a:off x="314199" y="3381375"/>
            <a:ext cx="1865376" cy="8763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119063" indent="-119063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0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28600" indent="-109538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9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3429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900" kern="12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H2</a:t>
            </a:r>
          </a:p>
          <a:p>
            <a:pPr lvl="1"/>
            <a:r>
              <a:rPr lang="en-US" dirty="0" smtClean="0"/>
              <a:t>Paragraph text</a:t>
            </a:r>
          </a:p>
          <a:p>
            <a:pPr lvl="2"/>
            <a:r>
              <a:rPr lang="en-US" dirty="0" smtClean="0"/>
              <a:t>Bullet text</a:t>
            </a:r>
            <a:endParaRPr lang="en-US" dirty="0"/>
          </a:p>
        </p:txBody>
      </p:sp>
      <p:sp>
        <p:nvSpPr>
          <p:cNvPr id="47" name="Text Placeholder 45"/>
          <p:cNvSpPr>
            <a:spLocks noGrp="1"/>
          </p:cNvSpPr>
          <p:nvPr>
            <p:ph type="body" sz="quarter" idx="42" hasCustomPrompt="1"/>
          </p:nvPr>
        </p:nvSpPr>
        <p:spPr>
          <a:xfrm>
            <a:off x="314199" y="4819650"/>
            <a:ext cx="1865376" cy="923925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119063" indent="-119063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0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28600" indent="-109538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9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3429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900" kern="12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H2</a:t>
            </a:r>
          </a:p>
          <a:p>
            <a:pPr lvl="1"/>
            <a:r>
              <a:rPr lang="en-US" dirty="0" smtClean="0"/>
              <a:t>Paragraph text</a:t>
            </a:r>
          </a:p>
          <a:p>
            <a:pPr lvl="2"/>
            <a:r>
              <a:rPr lang="en-US" dirty="0" smtClean="0"/>
              <a:t>Bullet text</a:t>
            </a:r>
            <a:endParaRPr lang="en-US" dirty="0"/>
          </a:p>
        </p:txBody>
      </p:sp>
      <p:sp>
        <p:nvSpPr>
          <p:cNvPr id="49" name="Text Placeholder 45"/>
          <p:cNvSpPr>
            <a:spLocks noGrp="1"/>
          </p:cNvSpPr>
          <p:nvPr>
            <p:ph type="body" sz="quarter" idx="27" hasCustomPrompt="1"/>
          </p:nvPr>
        </p:nvSpPr>
        <p:spPr>
          <a:xfrm>
            <a:off x="2899792" y="3038856"/>
            <a:ext cx="1847850" cy="115214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119063" indent="-119063">
              <a:defRPr sz="1100"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28600" indent="-109538">
              <a:defRPr sz="1000" baseline="0"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342900" indent="-114300">
              <a:defRPr sz="1000"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H2</a:t>
            </a:r>
          </a:p>
          <a:p>
            <a:pPr lvl="1"/>
            <a:r>
              <a:rPr lang="en-US" dirty="0" smtClean="0"/>
              <a:t>Paragraph text</a:t>
            </a:r>
          </a:p>
          <a:p>
            <a:pPr lvl="2"/>
            <a:r>
              <a:rPr lang="en-US" dirty="0" smtClean="0"/>
              <a:t>Bullet  text</a:t>
            </a:r>
            <a:endParaRPr lang="en-US" dirty="0"/>
          </a:p>
        </p:txBody>
      </p:sp>
      <p:sp>
        <p:nvSpPr>
          <p:cNvPr id="53" name="Text Placeholder 45"/>
          <p:cNvSpPr>
            <a:spLocks noGrp="1"/>
          </p:cNvSpPr>
          <p:nvPr>
            <p:ph type="body" sz="quarter" idx="28" hasCustomPrompt="1"/>
          </p:nvPr>
        </p:nvSpPr>
        <p:spPr>
          <a:xfrm>
            <a:off x="4791075" y="3038856"/>
            <a:ext cx="1847850" cy="115214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119063" indent="-119063">
              <a:defRPr sz="1100"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28600" indent="-109538">
              <a:defRPr sz="1000" baseline="0"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342900" indent="-114300">
              <a:defRPr sz="1000"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H2</a:t>
            </a:r>
          </a:p>
          <a:p>
            <a:pPr lvl="1"/>
            <a:r>
              <a:rPr lang="en-US" dirty="0" smtClean="0"/>
              <a:t>Paragraph text</a:t>
            </a:r>
          </a:p>
          <a:p>
            <a:pPr lvl="2"/>
            <a:r>
              <a:rPr lang="en-US" dirty="0" smtClean="0"/>
              <a:t>Bullet  text</a:t>
            </a:r>
            <a:endParaRPr lang="en-US" dirty="0"/>
          </a:p>
        </p:txBody>
      </p:sp>
      <p:sp>
        <p:nvSpPr>
          <p:cNvPr id="55" name="Text Placeholder 45"/>
          <p:cNvSpPr>
            <a:spLocks noGrp="1"/>
          </p:cNvSpPr>
          <p:nvPr>
            <p:ph type="body" sz="quarter" idx="43" hasCustomPrompt="1"/>
          </p:nvPr>
        </p:nvSpPr>
        <p:spPr>
          <a:xfrm>
            <a:off x="6705600" y="3038856"/>
            <a:ext cx="1847850" cy="115214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119063" indent="-119063">
              <a:defRPr sz="1100"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28600" indent="-109538">
              <a:defRPr sz="1000" baseline="0"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342900" indent="-114300">
              <a:defRPr sz="1000"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H2</a:t>
            </a:r>
          </a:p>
          <a:p>
            <a:pPr lvl="1"/>
            <a:r>
              <a:rPr lang="en-US" dirty="0" smtClean="0"/>
              <a:t>Paragraph text</a:t>
            </a:r>
          </a:p>
          <a:p>
            <a:pPr lvl="2"/>
            <a:r>
              <a:rPr lang="en-US" dirty="0" smtClean="0"/>
              <a:t>Bullet  text</a:t>
            </a:r>
            <a:endParaRPr lang="en-US" dirty="0"/>
          </a:p>
        </p:txBody>
      </p:sp>
      <p:grpSp>
        <p:nvGrpSpPr>
          <p:cNvPr id="57" name="Group 72"/>
          <p:cNvGrpSpPr/>
          <p:nvPr userDrawn="1"/>
        </p:nvGrpSpPr>
        <p:grpSpPr>
          <a:xfrm>
            <a:off x="140852" y="554828"/>
            <a:ext cx="8826701" cy="724418"/>
            <a:chOff x="140852" y="923636"/>
            <a:chExt cx="8826701" cy="724418"/>
          </a:xfrm>
        </p:grpSpPr>
        <p:grpSp>
          <p:nvGrpSpPr>
            <p:cNvPr id="58" name="Group 12"/>
            <p:cNvGrpSpPr/>
            <p:nvPr/>
          </p:nvGrpSpPr>
          <p:grpSpPr>
            <a:xfrm>
              <a:off x="2459187" y="1282395"/>
              <a:ext cx="6508366" cy="365659"/>
              <a:chOff x="-1" y="711412"/>
              <a:chExt cx="9153525" cy="514273"/>
            </a:xfrm>
          </p:grpSpPr>
          <p:sp>
            <p:nvSpPr>
              <p:cNvPr id="65" name="Flowchart: Process 64"/>
              <p:cNvSpPr/>
              <p:nvPr/>
            </p:nvSpPr>
            <p:spPr>
              <a:xfrm>
                <a:off x="-1" y="771525"/>
                <a:ext cx="9153525" cy="454160"/>
              </a:xfrm>
              <a:prstGeom prst="flowChartProcess">
                <a:avLst/>
              </a:prstGeom>
              <a:solidFill>
                <a:srgbClr val="585874"/>
              </a:solidFill>
              <a:ln>
                <a:noFill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algn="ctr" defTabSz="914400" rtl="0" eaLnBrk="1" latinLnBrk="0" hangingPunct="1"/>
                <a:endParaRPr lang="en-US" sz="2600" b="1" kern="1200" dirty="0">
                  <a:solidFill>
                    <a:schemeClr val="dk1"/>
                  </a:solidFill>
                  <a:latin typeface="Trebuchet MS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66" name="Group 19"/>
              <p:cNvGrpSpPr/>
              <p:nvPr/>
            </p:nvGrpSpPr>
            <p:grpSpPr>
              <a:xfrm>
                <a:off x="188844" y="890429"/>
                <a:ext cx="273844" cy="216511"/>
                <a:chOff x="377952" y="1463835"/>
                <a:chExt cx="273844" cy="216511"/>
              </a:xfrm>
            </p:grpSpPr>
            <p:sp>
              <p:nvSpPr>
                <p:cNvPr id="68" name="Rectangle 67"/>
                <p:cNvSpPr/>
                <p:nvPr/>
              </p:nvSpPr>
              <p:spPr>
                <a:xfrm>
                  <a:off x="377952" y="1463835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9" name="Rectangle 68"/>
                <p:cNvSpPr/>
                <p:nvPr/>
              </p:nvSpPr>
              <p:spPr>
                <a:xfrm>
                  <a:off x="377952" y="1549231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84" name="Rectangle 83"/>
                <p:cNvSpPr/>
                <p:nvPr/>
              </p:nvSpPr>
              <p:spPr>
                <a:xfrm>
                  <a:off x="377952" y="1634627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67" name="Freeform 66"/>
              <p:cNvSpPr/>
              <p:nvPr/>
            </p:nvSpPr>
            <p:spPr>
              <a:xfrm>
                <a:off x="534850" y="711412"/>
                <a:ext cx="461548" cy="226958"/>
              </a:xfrm>
              <a:custGeom>
                <a:avLst/>
                <a:gdLst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831715"/>
                  <a:gd name="connsiteY0" fmla="*/ 0 h 330741"/>
                  <a:gd name="connsiteX1" fmla="*/ 398834 w 831715"/>
                  <a:gd name="connsiteY1" fmla="*/ 330741 h 330741"/>
                  <a:gd name="connsiteX2" fmla="*/ 831715 w 831715"/>
                  <a:gd name="connsiteY2" fmla="*/ 4864 h 330741"/>
                  <a:gd name="connsiteX3" fmla="*/ 0 w 831715"/>
                  <a:gd name="connsiteY3" fmla="*/ 0 h 330741"/>
                  <a:gd name="connsiteX0" fmla="*/ 0 w 831715"/>
                  <a:gd name="connsiteY0" fmla="*/ 1469 h 332210"/>
                  <a:gd name="connsiteX1" fmla="*/ 398834 w 831715"/>
                  <a:gd name="connsiteY1" fmla="*/ 332210 h 332210"/>
                  <a:gd name="connsiteX2" fmla="*/ 831715 w 831715"/>
                  <a:gd name="connsiteY2" fmla="*/ 6333 h 332210"/>
                  <a:gd name="connsiteX3" fmla="*/ 0 w 831715"/>
                  <a:gd name="connsiteY3" fmla="*/ 1469 h 332210"/>
                  <a:gd name="connsiteX0" fmla="*/ 0 w 831715"/>
                  <a:gd name="connsiteY0" fmla="*/ 1469 h 332210"/>
                  <a:gd name="connsiteX1" fmla="*/ 411830 w 831715"/>
                  <a:gd name="connsiteY1" fmla="*/ 332210 h 332210"/>
                  <a:gd name="connsiteX2" fmla="*/ 831715 w 831715"/>
                  <a:gd name="connsiteY2" fmla="*/ 6333 h 332210"/>
                  <a:gd name="connsiteX3" fmla="*/ 0 w 831715"/>
                  <a:gd name="connsiteY3" fmla="*/ 1469 h 332210"/>
                  <a:gd name="connsiteX0" fmla="*/ 0 w 831715"/>
                  <a:gd name="connsiteY0" fmla="*/ 144420 h 475161"/>
                  <a:gd name="connsiteX1" fmla="*/ 411830 w 831715"/>
                  <a:gd name="connsiteY1" fmla="*/ 475161 h 475161"/>
                  <a:gd name="connsiteX2" fmla="*/ 831715 w 831715"/>
                  <a:gd name="connsiteY2" fmla="*/ 149284 h 475161"/>
                  <a:gd name="connsiteX3" fmla="*/ 667106 w 831715"/>
                  <a:gd name="connsiteY3" fmla="*/ 0 h 475161"/>
                  <a:gd name="connsiteX4" fmla="*/ 0 w 831715"/>
                  <a:gd name="connsiteY4" fmla="*/ 144420 h 475161"/>
                  <a:gd name="connsiteX0" fmla="*/ 0 w 831715"/>
                  <a:gd name="connsiteY0" fmla="*/ 144420 h 475161"/>
                  <a:gd name="connsiteX1" fmla="*/ 411830 w 831715"/>
                  <a:gd name="connsiteY1" fmla="*/ 475161 h 475161"/>
                  <a:gd name="connsiteX2" fmla="*/ 831715 w 831715"/>
                  <a:gd name="connsiteY2" fmla="*/ 149284 h 475161"/>
                  <a:gd name="connsiteX3" fmla="*/ 667106 w 831715"/>
                  <a:gd name="connsiteY3" fmla="*/ 0 h 475161"/>
                  <a:gd name="connsiteX4" fmla="*/ 4331 w 831715"/>
                  <a:gd name="connsiteY4" fmla="*/ 8665 h 475161"/>
                  <a:gd name="connsiteX5" fmla="*/ 0 w 831715"/>
                  <a:gd name="connsiteY5" fmla="*/ 144420 h 475161"/>
                  <a:gd name="connsiteX0" fmla="*/ 0 w 831715"/>
                  <a:gd name="connsiteY0" fmla="*/ 140087 h 470828"/>
                  <a:gd name="connsiteX1" fmla="*/ 411830 w 831715"/>
                  <a:gd name="connsiteY1" fmla="*/ 470828 h 470828"/>
                  <a:gd name="connsiteX2" fmla="*/ 831715 w 831715"/>
                  <a:gd name="connsiteY2" fmla="*/ 144951 h 470828"/>
                  <a:gd name="connsiteX3" fmla="*/ 831715 w 831715"/>
                  <a:gd name="connsiteY3" fmla="*/ 0 h 470828"/>
                  <a:gd name="connsiteX4" fmla="*/ 4331 w 831715"/>
                  <a:gd name="connsiteY4" fmla="*/ 4332 h 470828"/>
                  <a:gd name="connsiteX5" fmla="*/ 0 w 831715"/>
                  <a:gd name="connsiteY5" fmla="*/ 140087 h 470828"/>
                  <a:gd name="connsiteX0" fmla="*/ 0 w 831715"/>
                  <a:gd name="connsiteY0" fmla="*/ 135755 h 466496"/>
                  <a:gd name="connsiteX1" fmla="*/ 411830 w 831715"/>
                  <a:gd name="connsiteY1" fmla="*/ 466496 h 466496"/>
                  <a:gd name="connsiteX2" fmla="*/ 831715 w 831715"/>
                  <a:gd name="connsiteY2" fmla="*/ 140619 h 466496"/>
                  <a:gd name="connsiteX3" fmla="*/ 728459 w 831715"/>
                  <a:gd name="connsiteY3" fmla="*/ 55708 h 466496"/>
                  <a:gd name="connsiteX4" fmla="*/ 4331 w 831715"/>
                  <a:gd name="connsiteY4" fmla="*/ 0 h 466496"/>
                  <a:gd name="connsiteX5" fmla="*/ 0 w 831715"/>
                  <a:gd name="connsiteY5" fmla="*/ 135755 h 466496"/>
                  <a:gd name="connsiteX0" fmla="*/ 0 w 831715"/>
                  <a:gd name="connsiteY0" fmla="*/ 82129 h 412870"/>
                  <a:gd name="connsiteX1" fmla="*/ 411830 w 831715"/>
                  <a:gd name="connsiteY1" fmla="*/ 412870 h 412870"/>
                  <a:gd name="connsiteX2" fmla="*/ 831715 w 831715"/>
                  <a:gd name="connsiteY2" fmla="*/ 86993 h 412870"/>
                  <a:gd name="connsiteX3" fmla="*/ 728459 w 831715"/>
                  <a:gd name="connsiteY3" fmla="*/ 2082 h 412870"/>
                  <a:gd name="connsiteX4" fmla="*/ 4332 w 831715"/>
                  <a:gd name="connsiteY4" fmla="*/ 0 h 412870"/>
                  <a:gd name="connsiteX5" fmla="*/ 0 w 831715"/>
                  <a:gd name="connsiteY5" fmla="*/ 82129 h 412870"/>
                  <a:gd name="connsiteX0" fmla="*/ 0 w 839623"/>
                  <a:gd name="connsiteY0" fmla="*/ 82129 h 412870"/>
                  <a:gd name="connsiteX1" fmla="*/ 411830 w 839623"/>
                  <a:gd name="connsiteY1" fmla="*/ 412870 h 412870"/>
                  <a:gd name="connsiteX2" fmla="*/ 831715 w 839623"/>
                  <a:gd name="connsiteY2" fmla="*/ 86993 h 412870"/>
                  <a:gd name="connsiteX3" fmla="*/ 839623 w 839623"/>
                  <a:gd name="connsiteY3" fmla="*/ 2083 h 412870"/>
                  <a:gd name="connsiteX4" fmla="*/ 4332 w 839623"/>
                  <a:gd name="connsiteY4" fmla="*/ 0 h 412870"/>
                  <a:gd name="connsiteX5" fmla="*/ 0 w 839623"/>
                  <a:gd name="connsiteY5" fmla="*/ 82129 h 412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39623" h="412870">
                    <a:moveTo>
                      <a:pt x="0" y="82129"/>
                    </a:moveTo>
                    <a:cubicBezTo>
                      <a:pt x="145105" y="80660"/>
                      <a:pt x="310905" y="152503"/>
                      <a:pt x="411830" y="412870"/>
                    </a:cubicBezTo>
                    <a:cubicBezTo>
                      <a:pt x="496288" y="146322"/>
                      <a:pt x="642482" y="86841"/>
                      <a:pt x="831715" y="86993"/>
                    </a:cubicBezTo>
                    <a:lnTo>
                      <a:pt x="839623" y="2083"/>
                    </a:lnTo>
                    <a:lnTo>
                      <a:pt x="4332" y="0"/>
                    </a:lnTo>
                    <a:lnTo>
                      <a:pt x="0" y="8212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59" name="Group 34"/>
            <p:cNvGrpSpPr/>
            <p:nvPr userDrawn="1"/>
          </p:nvGrpSpPr>
          <p:grpSpPr>
            <a:xfrm>
              <a:off x="140852" y="923636"/>
              <a:ext cx="2187677" cy="322918"/>
              <a:chOff x="-2" y="771525"/>
              <a:chExt cx="3076802" cy="454160"/>
            </a:xfrm>
          </p:grpSpPr>
          <p:sp>
            <p:nvSpPr>
              <p:cNvPr id="60" name="Flowchart: Process 59"/>
              <p:cNvSpPr/>
              <p:nvPr/>
            </p:nvSpPr>
            <p:spPr>
              <a:xfrm>
                <a:off x="-2" y="771525"/>
                <a:ext cx="3076802" cy="454160"/>
              </a:xfrm>
              <a:prstGeom prst="flowChartProcess">
                <a:avLst/>
              </a:prstGeom>
              <a:solidFill>
                <a:srgbClr val="585874"/>
              </a:solidFill>
              <a:ln>
                <a:noFill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2600" b="1" dirty="0">
                  <a:solidFill>
                    <a:schemeClr val="dk1"/>
                  </a:solidFill>
                  <a:latin typeface="Trebuchet MS" pitchFamily="34" charset="0"/>
                </a:endParaRPr>
              </a:p>
            </p:txBody>
          </p:sp>
          <p:grpSp>
            <p:nvGrpSpPr>
              <p:cNvPr id="61" name="Group 36"/>
              <p:cNvGrpSpPr/>
              <p:nvPr/>
            </p:nvGrpSpPr>
            <p:grpSpPr>
              <a:xfrm>
                <a:off x="188844" y="890429"/>
                <a:ext cx="273844" cy="216511"/>
                <a:chOff x="377952" y="1463835"/>
                <a:chExt cx="273844" cy="216511"/>
              </a:xfrm>
            </p:grpSpPr>
            <p:sp>
              <p:nvSpPr>
                <p:cNvPr id="62" name="Rectangle 61"/>
                <p:cNvSpPr/>
                <p:nvPr/>
              </p:nvSpPr>
              <p:spPr>
                <a:xfrm>
                  <a:off x="377952" y="1463835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3" name="Rectangle 62"/>
                <p:cNvSpPr/>
                <p:nvPr/>
              </p:nvSpPr>
              <p:spPr>
                <a:xfrm>
                  <a:off x="377952" y="1549231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4" name="Rectangle 63"/>
                <p:cNvSpPr/>
                <p:nvPr/>
              </p:nvSpPr>
              <p:spPr>
                <a:xfrm>
                  <a:off x="377952" y="1634627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&amp; 4 text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Picture Placeholder 20"/>
          <p:cNvSpPr>
            <a:spLocks noGrp="1"/>
          </p:cNvSpPr>
          <p:nvPr>
            <p:ph type="pic" sz="quarter" idx="33"/>
          </p:nvPr>
        </p:nvSpPr>
        <p:spPr>
          <a:xfrm>
            <a:off x="5763640" y="1712883"/>
            <a:ext cx="1380872" cy="13167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342900" indent="-34290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4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51" name="Picture Placeholder 20"/>
          <p:cNvSpPr>
            <a:spLocks noGrp="1"/>
          </p:cNvSpPr>
          <p:nvPr>
            <p:ph type="pic" sz="quarter" idx="35"/>
          </p:nvPr>
        </p:nvSpPr>
        <p:spPr>
          <a:xfrm>
            <a:off x="7192168" y="1715931"/>
            <a:ext cx="1380872" cy="13167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342900" indent="-34290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4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86" name="Title 1"/>
          <p:cNvSpPr>
            <a:spLocks noGrp="1"/>
          </p:cNvSpPr>
          <p:nvPr>
            <p:ph type="ctrTitle"/>
          </p:nvPr>
        </p:nvSpPr>
        <p:spPr>
          <a:xfrm>
            <a:off x="193962" y="925392"/>
            <a:ext cx="2073751" cy="457200"/>
          </a:xfrm>
          <a:prstGeom prst="rect">
            <a:avLst/>
          </a:prstGeom>
          <a:noFill/>
        </p:spPr>
        <p:txBody>
          <a:bodyPr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1450" kern="1200" dirty="0">
                <a:solidFill>
                  <a:srgbClr val="24274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7" name="Subtitle 2"/>
          <p:cNvSpPr>
            <a:spLocks noGrp="1"/>
          </p:cNvSpPr>
          <p:nvPr>
            <p:ph type="subTitle" idx="1"/>
          </p:nvPr>
        </p:nvSpPr>
        <p:spPr>
          <a:xfrm>
            <a:off x="2871090" y="1286163"/>
            <a:ext cx="5705983" cy="38100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rgbClr val="242748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38" name="Content Placeholder 35"/>
          <p:cNvSpPr>
            <a:spLocks noGrp="1"/>
          </p:cNvSpPr>
          <p:nvPr>
            <p:ph sz="quarter" idx="39" hasCustomPrompt="1"/>
          </p:nvPr>
        </p:nvSpPr>
        <p:spPr>
          <a:xfrm>
            <a:off x="4324351" y="1722409"/>
            <a:ext cx="1381125" cy="1304925"/>
          </a:xfrm>
          <a:prstGeom prst="rect">
            <a:avLst/>
          </a:prstGeom>
          <a:solidFill>
            <a:srgbClr val="DBE6C4"/>
          </a:solidFill>
        </p:spPr>
        <p:txBody>
          <a:bodyPr anchor="b" anchorCtr="1">
            <a:noAutofit/>
          </a:bodyPr>
          <a:lstStyle>
            <a:lvl1pPr>
              <a:defRPr lang="en-US" sz="12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342900" lvl="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Insert Object</a:t>
            </a:r>
            <a:endParaRPr lang="en-US" dirty="0"/>
          </a:p>
        </p:txBody>
      </p:sp>
      <p:sp>
        <p:nvSpPr>
          <p:cNvPr id="40" name="Content Placeholder 35"/>
          <p:cNvSpPr>
            <a:spLocks noGrp="1"/>
          </p:cNvSpPr>
          <p:nvPr>
            <p:ph sz="quarter" idx="40" hasCustomPrompt="1"/>
          </p:nvPr>
        </p:nvSpPr>
        <p:spPr>
          <a:xfrm>
            <a:off x="2884392" y="1722409"/>
            <a:ext cx="1381125" cy="1304925"/>
          </a:xfrm>
          <a:prstGeom prst="rect">
            <a:avLst/>
          </a:prstGeom>
          <a:solidFill>
            <a:srgbClr val="DBE6C4"/>
          </a:solidFill>
        </p:spPr>
        <p:txBody>
          <a:bodyPr anchor="b" anchorCtr="1">
            <a:noAutofit/>
          </a:bodyPr>
          <a:lstStyle>
            <a:lvl1pPr>
              <a:defRPr lang="en-US" sz="12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342900" lvl="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Insert Object</a:t>
            </a:r>
            <a:endParaRPr lang="en-US" dirty="0"/>
          </a:p>
        </p:txBody>
      </p:sp>
      <p:sp>
        <p:nvSpPr>
          <p:cNvPr id="41" name="Content Placeholder 35"/>
          <p:cNvSpPr>
            <a:spLocks noGrp="1"/>
          </p:cNvSpPr>
          <p:nvPr>
            <p:ph sz="quarter" idx="41" hasCustomPrompt="1"/>
          </p:nvPr>
        </p:nvSpPr>
        <p:spPr>
          <a:xfrm>
            <a:off x="7190232" y="1722409"/>
            <a:ext cx="1381125" cy="1304925"/>
          </a:xfrm>
          <a:prstGeom prst="rect">
            <a:avLst/>
          </a:prstGeom>
          <a:solidFill>
            <a:srgbClr val="DBE6C4"/>
          </a:solidFill>
        </p:spPr>
        <p:txBody>
          <a:bodyPr anchor="b" anchorCtr="1">
            <a:noAutofit/>
          </a:bodyPr>
          <a:lstStyle>
            <a:lvl1pPr>
              <a:defRPr lang="en-US" sz="12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342900" lvl="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Insert Object</a:t>
            </a:r>
            <a:endParaRPr lang="en-US" dirty="0"/>
          </a:p>
        </p:txBody>
      </p:sp>
      <p:sp>
        <p:nvSpPr>
          <p:cNvPr id="42" name="Content Placeholder 35"/>
          <p:cNvSpPr>
            <a:spLocks noGrp="1"/>
          </p:cNvSpPr>
          <p:nvPr>
            <p:ph sz="quarter" idx="42" hasCustomPrompt="1"/>
          </p:nvPr>
        </p:nvSpPr>
        <p:spPr>
          <a:xfrm>
            <a:off x="5761704" y="1722409"/>
            <a:ext cx="1381125" cy="1304925"/>
          </a:xfrm>
          <a:prstGeom prst="rect">
            <a:avLst/>
          </a:prstGeom>
          <a:solidFill>
            <a:srgbClr val="DBE6C4"/>
          </a:solidFill>
        </p:spPr>
        <p:txBody>
          <a:bodyPr anchor="b" anchorCtr="1">
            <a:noAutofit/>
          </a:bodyPr>
          <a:lstStyle>
            <a:lvl1pPr>
              <a:defRPr lang="en-US" sz="12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342900" lvl="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Insert Object</a:t>
            </a:r>
            <a:endParaRPr lang="en-US" dirty="0"/>
          </a:p>
        </p:txBody>
      </p:sp>
      <p:sp>
        <p:nvSpPr>
          <p:cNvPr id="34" name="Text Placeholder 45"/>
          <p:cNvSpPr>
            <a:spLocks noGrp="1"/>
          </p:cNvSpPr>
          <p:nvPr>
            <p:ph type="body" sz="quarter" idx="17" hasCustomPrompt="1"/>
          </p:nvPr>
        </p:nvSpPr>
        <p:spPr>
          <a:xfrm>
            <a:off x="312738" y="1409700"/>
            <a:ext cx="1865376" cy="866775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119063" indent="-119063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0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28600" indent="-109538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9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3429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900" kern="12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H2</a:t>
            </a:r>
          </a:p>
          <a:p>
            <a:pPr lvl="1"/>
            <a:r>
              <a:rPr lang="en-US" dirty="0" smtClean="0"/>
              <a:t>Paragraph text</a:t>
            </a:r>
          </a:p>
          <a:p>
            <a:pPr lvl="2"/>
            <a:r>
              <a:rPr lang="en-US" dirty="0" smtClean="0"/>
              <a:t>Bullet text</a:t>
            </a:r>
            <a:endParaRPr lang="en-US" dirty="0"/>
          </a:p>
        </p:txBody>
      </p:sp>
      <p:sp>
        <p:nvSpPr>
          <p:cNvPr id="35" name="Text Placeholder 45"/>
          <p:cNvSpPr>
            <a:spLocks noGrp="1"/>
          </p:cNvSpPr>
          <p:nvPr>
            <p:ph type="body" sz="quarter" idx="31" hasCustomPrompt="1"/>
          </p:nvPr>
        </p:nvSpPr>
        <p:spPr>
          <a:xfrm>
            <a:off x="314199" y="2314575"/>
            <a:ext cx="1865376" cy="8763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119063" indent="-119063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0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28600" indent="-109538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9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3429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900" kern="12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H2</a:t>
            </a:r>
          </a:p>
          <a:p>
            <a:pPr lvl="1"/>
            <a:r>
              <a:rPr lang="en-US" dirty="0" smtClean="0"/>
              <a:t>Paragraph text</a:t>
            </a:r>
          </a:p>
          <a:p>
            <a:pPr lvl="2"/>
            <a:r>
              <a:rPr lang="en-US" dirty="0" smtClean="0"/>
              <a:t>Bullet text</a:t>
            </a:r>
            <a:endParaRPr lang="en-US" dirty="0"/>
          </a:p>
        </p:txBody>
      </p:sp>
      <p:sp>
        <p:nvSpPr>
          <p:cNvPr id="36" name="Text Placeholder 45"/>
          <p:cNvSpPr>
            <a:spLocks noGrp="1"/>
          </p:cNvSpPr>
          <p:nvPr>
            <p:ph type="body" sz="quarter" idx="43" hasCustomPrompt="1"/>
          </p:nvPr>
        </p:nvSpPr>
        <p:spPr>
          <a:xfrm>
            <a:off x="314199" y="3228975"/>
            <a:ext cx="1865376" cy="923925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119063" indent="-119063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0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28600" indent="-109538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9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3429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900" kern="12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H2</a:t>
            </a:r>
          </a:p>
          <a:p>
            <a:pPr lvl="1"/>
            <a:r>
              <a:rPr lang="en-US" dirty="0" smtClean="0"/>
              <a:t>Paragraph text</a:t>
            </a:r>
          </a:p>
          <a:p>
            <a:pPr lvl="2"/>
            <a:r>
              <a:rPr lang="en-US" dirty="0" smtClean="0"/>
              <a:t>Bullet text</a:t>
            </a:r>
            <a:endParaRPr lang="en-US" dirty="0"/>
          </a:p>
        </p:txBody>
      </p:sp>
      <p:sp>
        <p:nvSpPr>
          <p:cNvPr id="37" name="Text Placeholder 45"/>
          <p:cNvSpPr>
            <a:spLocks noGrp="1"/>
          </p:cNvSpPr>
          <p:nvPr>
            <p:ph type="body" sz="quarter" idx="44" hasCustomPrompt="1"/>
          </p:nvPr>
        </p:nvSpPr>
        <p:spPr>
          <a:xfrm>
            <a:off x="312738" y="4191000"/>
            <a:ext cx="1865376" cy="923925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119063" indent="-119063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0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28600" indent="-109538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9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3429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900" kern="12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H2</a:t>
            </a:r>
          </a:p>
          <a:p>
            <a:pPr lvl="1"/>
            <a:r>
              <a:rPr lang="en-US" dirty="0" smtClean="0"/>
              <a:t>Paragraph text</a:t>
            </a:r>
          </a:p>
          <a:p>
            <a:pPr lvl="2"/>
            <a:r>
              <a:rPr lang="en-US" dirty="0" smtClean="0"/>
              <a:t>Bullet text</a:t>
            </a:r>
            <a:endParaRPr lang="en-US" dirty="0"/>
          </a:p>
        </p:txBody>
      </p:sp>
      <p:sp>
        <p:nvSpPr>
          <p:cNvPr id="39" name="Text Placeholder 45"/>
          <p:cNvSpPr>
            <a:spLocks noGrp="1"/>
          </p:cNvSpPr>
          <p:nvPr>
            <p:ph type="body" sz="quarter" idx="27" hasCustomPrompt="1"/>
          </p:nvPr>
        </p:nvSpPr>
        <p:spPr>
          <a:xfrm>
            <a:off x="2884392" y="3038856"/>
            <a:ext cx="1376932" cy="115214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119063" indent="-119063">
              <a:defRPr sz="1100"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28600" indent="-109538">
              <a:defRPr sz="1000" baseline="0"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342900" indent="-114300">
              <a:defRPr sz="1000"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H2</a:t>
            </a:r>
          </a:p>
          <a:p>
            <a:pPr lvl="1"/>
            <a:r>
              <a:rPr lang="en-US" dirty="0" smtClean="0"/>
              <a:t>Paragraph text</a:t>
            </a:r>
          </a:p>
          <a:p>
            <a:pPr lvl="2"/>
            <a:r>
              <a:rPr lang="en-US" dirty="0" smtClean="0"/>
              <a:t>Bullet  text</a:t>
            </a:r>
            <a:endParaRPr lang="en-US" dirty="0"/>
          </a:p>
        </p:txBody>
      </p:sp>
      <p:sp>
        <p:nvSpPr>
          <p:cNvPr id="48" name="Text Placeholder 45"/>
          <p:cNvSpPr>
            <a:spLocks noGrp="1"/>
          </p:cNvSpPr>
          <p:nvPr>
            <p:ph type="body" sz="quarter" idx="28" hasCustomPrompt="1"/>
          </p:nvPr>
        </p:nvSpPr>
        <p:spPr>
          <a:xfrm>
            <a:off x="4323048" y="3038856"/>
            <a:ext cx="1376932" cy="115214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119063" indent="-119063">
              <a:defRPr sz="1100"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28600" indent="-109538">
              <a:defRPr sz="1000" baseline="0"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342900" indent="-114300">
              <a:defRPr sz="1000"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H2</a:t>
            </a:r>
          </a:p>
          <a:p>
            <a:pPr lvl="1"/>
            <a:r>
              <a:rPr lang="en-US" dirty="0" smtClean="0"/>
              <a:t>Paragraph text</a:t>
            </a:r>
          </a:p>
          <a:p>
            <a:pPr lvl="2"/>
            <a:r>
              <a:rPr lang="en-US" dirty="0" smtClean="0"/>
              <a:t>Bullet  text</a:t>
            </a:r>
            <a:endParaRPr lang="en-US" dirty="0"/>
          </a:p>
        </p:txBody>
      </p:sp>
      <p:sp>
        <p:nvSpPr>
          <p:cNvPr id="53" name="Text Placeholder 45"/>
          <p:cNvSpPr>
            <a:spLocks noGrp="1"/>
          </p:cNvSpPr>
          <p:nvPr>
            <p:ph type="body" sz="quarter" idx="45" hasCustomPrompt="1"/>
          </p:nvPr>
        </p:nvSpPr>
        <p:spPr>
          <a:xfrm>
            <a:off x="5761704" y="3038856"/>
            <a:ext cx="1376932" cy="115214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119063" indent="-119063">
              <a:defRPr sz="1100"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28600" indent="-109538">
              <a:defRPr sz="1000" baseline="0"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342900" indent="-114300">
              <a:defRPr sz="1000"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H2</a:t>
            </a:r>
          </a:p>
          <a:p>
            <a:pPr lvl="1"/>
            <a:r>
              <a:rPr lang="en-US" dirty="0" smtClean="0"/>
              <a:t>Paragraph text</a:t>
            </a:r>
          </a:p>
          <a:p>
            <a:pPr lvl="2"/>
            <a:r>
              <a:rPr lang="en-US" dirty="0" smtClean="0"/>
              <a:t>Bullet  text</a:t>
            </a:r>
            <a:endParaRPr lang="en-US" dirty="0"/>
          </a:p>
        </p:txBody>
      </p:sp>
      <p:sp>
        <p:nvSpPr>
          <p:cNvPr id="55" name="Text Placeholder 45"/>
          <p:cNvSpPr>
            <a:spLocks noGrp="1"/>
          </p:cNvSpPr>
          <p:nvPr>
            <p:ph type="body" sz="quarter" idx="46" hasCustomPrompt="1"/>
          </p:nvPr>
        </p:nvSpPr>
        <p:spPr>
          <a:xfrm>
            <a:off x="7199979" y="3038856"/>
            <a:ext cx="1376932" cy="115214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119063" indent="-119063">
              <a:defRPr sz="1100"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28600" indent="-109538">
              <a:defRPr sz="1000" baseline="0"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342900" indent="-114300">
              <a:defRPr sz="1000"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H2</a:t>
            </a:r>
          </a:p>
          <a:p>
            <a:pPr lvl="1"/>
            <a:r>
              <a:rPr lang="en-US" dirty="0" smtClean="0"/>
              <a:t>Paragraph text</a:t>
            </a:r>
          </a:p>
          <a:p>
            <a:pPr lvl="2"/>
            <a:r>
              <a:rPr lang="en-US" dirty="0" smtClean="0"/>
              <a:t>Bullet  text</a:t>
            </a:r>
            <a:endParaRPr lang="en-US" dirty="0"/>
          </a:p>
        </p:txBody>
      </p:sp>
      <p:grpSp>
        <p:nvGrpSpPr>
          <p:cNvPr id="57" name="Group 72"/>
          <p:cNvGrpSpPr/>
          <p:nvPr userDrawn="1"/>
        </p:nvGrpSpPr>
        <p:grpSpPr>
          <a:xfrm>
            <a:off x="140852" y="554828"/>
            <a:ext cx="8826701" cy="724418"/>
            <a:chOff x="140852" y="923636"/>
            <a:chExt cx="8826701" cy="724418"/>
          </a:xfrm>
        </p:grpSpPr>
        <p:grpSp>
          <p:nvGrpSpPr>
            <p:cNvPr id="59" name="Group 12"/>
            <p:cNvGrpSpPr/>
            <p:nvPr/>
          </p:nvGrpSpPr>
          <p:grpSpPr>
            <a:xfrm>
              <a:off x="2459187" y="1282395"/>
              <a:ext cx="6508366" cy="365659"/>
              <a:chOff x="-1" y="711412"/>
              <a:chExt cx="9153525" cy="514273"/>
            </a:xfrm>
          </p:grpSpPr>
          <p:sp>
            <p:nvSpPr>
              <p:cNvPr id="66" name="Flowchart: Process 65"/>
              <p:cNvSpPr/>
              <p:nvPr/>
            </p:nvSpPr>
            <p:spPr>
              <a:xfrm>
                <a:off x="-1" y="771525"/>
                <a:ext cx="9153525" cy="454160"/>
              </a:xfrm>
              <a:prstGeom prst="flowChartProcess">
                <a:avLst/>
              </a:prstGeom>
              <a:solidFill>
                <a:srgbClr val="585874"/>
              </a:solidFill>
              <a:ln>
                <a:noFill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algn="ctr" defTabSz="914400" rtl="0" eaLnBrk="1" latinLnBrk="0" hangingPunct="1"/>
                <a:endParaRPr lang="en-US" sz="2600" b="1" kern="1200" dirty="0">
                  <a:solidFill>
                    <a:schemeClr val="dk1"/>
                  </a:solidFill>
                  <a:latin typeface="Trebuchet MS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67" name="Group 19"/>
              <p:cNvGrpSpPr/>
              <p:nvPr/>
            </p:nvGrpSpPr>
            <p:grpSpPr>
              <a:xfrm>
                <a:off x="188844" y="890429"/>
                <a:ext cx="273844" cy="216511"/>
                <a:chOff x="377952" y="1463835"/>
                <a:chExt cx="273844" cy="216511"/>
              </a:xfrm>
            </p:grpSpPr>
            <p:sp>
              <p:nvSpPr>
                <p:cNvPr id="69" name="Rectangle 68"/>
                <p:cNvSpPr/>
                <p:nvPr/>
              </p:nvSpPr>
              <p:spPr>
                <a:xfrm>
                  <a:off x="377952" y="1463835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0" name="Rectangle 69"/>
                <p:cNvSpPr/>
                <p:nvPr/>
              </p:nvSpPr>
              <p:spPr>
                <a:xfrm>
                  <a:off x="377952" y="1549231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1" name="Rectangle 70"/>
                <p:cNvSpPr/>
                <p:nvPr/>
              </p:nvSpPr>
              <p:spPr>
                <a:xfrm>
                  <a:off x="377952" y="1634627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68" name="Freeform 67"/>
              <p:cNvSpPr/>
              <p:nvPr/>
            </p:nvSpPr>
            <p:spPr>
              <a:xfrm>
                <a:off x="534850" y="711412"/>
                <a:ext cx="461548" cy="226958"/>
              </a:xfrm>
              <a:custGeom>
                <a:avLst/>
                <a:gdLst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831715"/>
                  <a:gd name="connsiteY0" fmla="*/ 0 h 330741"/>
                  <a:gd name="connsiteX1" fmla="*/ 398834 w 831715"/>
                  <a:gd name="connsiteY1" fmla="*/ 330741 h 330741"/>
                  <a:gd name="connsiteX2" fmla="*/ 831715 w 831715"/>
                  <a:gd name="connsiteY2" fmla="*/ 4864 h 330741"/>
                  <a:gd name="connsiteX3" fmla="*/ 0 w 831715"/>
                  <a:gd name="connsiteY3" fmla="*/ 0 h 330741"/>
                  <a:gd name="connsiteX0" fmla="*/ 0 w 831715"/>
                  <a:gd name="connsiteY0" fmla="*/ 1469 h 332210"/>
                  <a:gd name="connsiteX1" fmla="*/ 398834 w 831715"/>
                  <a:gd name="connsiteY1" fmla="*/ 332210 h 332210"/>
                  <a:gd name="connsiteX2" fmla="*/ 831715 w 831715"/>
                  <a:gd name="connsiteY2" fmla="*/ 6333 h 332210"/>
                  <a:gd name="connsiteX3" fmla="*/ 0 w 831715"/>
                  <a:gd name="connsiteY3" fmla="*/ 1469 h 332210"/>
                  <a:gd name="connsiteX0" fmla="*/ 0 w 831715"/>
                  <a:gd name="connsiteY0" fmla="*/ 1469 h 332210"/>
                  <a:gd name="connsiteX1" fmla="*/ 411830 w 831715"/>
                  <a:gd name="connsiteY1" fmla="*/ 332210 h 332210"/>
                  <a:gd name="connsiteX2" fmla="*/ 831715 w 831715"/>
                  <a:gd name="connsiteY2" fmla="*/ 6333 h 332210"/>
                  <a:gd name="connsiteX3" fmla="*/ 0 w 831715"/>
                  <a:gd name="connsiteY3" fmla="*/ 1469 h 332210"/>
                  <a:gd name="connsiteX0" fmla="*/ 0 w 831715"/>
                  <a:gd name="connsiteY0" fmla="*/ 144420 h 475161"/>
                  <a:gd name="connsiteX1" fmla="*/ 411830 w 831715"/>
                  <a:gd name="connsiteY1" fmla="*/ 475161 h 475161"/>
                  <a:gd name="connsiteX2" fmla="*/ 831715 w 831715"/>
                  <a:gd name="connsiteY2" fmla="*/ 149284 h 475161"/>
                  <a:gd name="connsiteX3" fmla="*/ 667106 w 831715"/>
                  <a:gd name="connsiteY3" fmla="*/ 0 h 475161"/>
                  <a:gd name="connsiteX4" fmla="*/ 0 w 831715"/>
                  <a:gd name="connsiteY4" fmla="*/ 144420 h 475161"/>
                  <a:gd name="connsiteX0" fmla="*/ 0 w 831715"/>
                  <a:gd name="connsiteY0" fmla="*/ 144420 h 475161"/>
                  <a:gd name="connsiteX1" fmla="*/ 411830 w 831715"/>
                  <a:gd name="connsiteY1" fmla="*/ 475161 h 475161"/>
                  <a:gd name="connsiteX2" fmla="*/ 831715 w 831715"/>
                  <a:gd name="connsiteY2" fmla="*/ 149284 h 475161"/>
                  <a:gd name="connsiteX3" fmla="*/ 667106 w 831715"/>
                  <a:gd name="connsiteY3" fmla="*/ 0 h 475161"/>
                  <a:gd name="connsiteX4" fmla="*/ 4331 w 831715"/>
                  <a:gd name="connsiteY4" fmla="*/ 8665 h 475161"/>
                  <a:gd name="connsiteX5" fmla="*/ 0 w 831715"/>
                  <a:gd name="connsiteY5" fmla="*/ 144420 h 475161"/>
                  <a:gd name="connsiteX0" fmla="*/ 0 w 831715"/>
                  <a:gd name="connsiteY0" fmla="*/ 140087 h 470828"/>
                  <a:gd name="connsiteX1" fmla="*/ 411830 w 831715"/>
                  <a:gd name="connsiteY1" fmla="*/ 470828 h 470828"/>
                  <a:gd name="connsiteX2" fmla="*/ 831715 w 831715"/>
                  <a:gd name="connsiteY2" fmla="*/ 144951 h 470828"/>
                  <a:gd name="connsiteX3" fmla="*/ 831715 w 831715"/>
                  <a:gd name="connsiteY3" fmla="*/ 0 h 470828"/>
                  <a:gd name="connsiteX4" fmla="*/ 4331 w 831715"/>
                  <a:gd name="connsiteY4" fmla="*/ 4332 h 470828"/>
                  <a:gd name="connsiteX5" fmla="*/ 0 w 831715"/>
                  <a:gd name="connsiteY5" fmla="*/ 140087 h 470828"/>
                  <a:gd name="connsiteX0" fmla="*/ 0 w 831715"/>
                  <a:gd name="connsiteY0" fmla="*/ 135755 h 466496"/>
                  <a:gd name="connsiteX1" fmla="*/ 411830 w 831715"/>
                  <a:gd name="connsiteY1" fmla="*/ 466496 h 466496"/>
                  <a:gd name="connsiteX2" fmla="*/ 831715 w 831715"/>
                  <a:gd name="connsiteY2" fmla="*/ 140619 h 466496"/>
                  <a:gd name="connsiteX3" fmla="*/ 728459 w 831715"/>
                  <a:gd name="connsiteY3" fmla="*/ 55708 h 466496"/>
                  <a:gd name="connsiteX4" fmla="*/ 4331 w 831715"/>
                  <a:gd name="connsiteY4" fmla="*/ 0 h 466496"/>
                  <a:gd name="connsiteX5" fmla="*/ 0 w 831715"/>
                  <a:gd name="connsiteY5" fmla="*/ 135755 h 466496"/>
                  <a:gd name="connsiteX0" fmla="*/ 0 w 831715"/>
                  <a:gd name="connsiteY0" fmla="*/ 82129 h 412870"/>
                  <a:gd name="connsiteX1" fmla="*/ 411830 w 831715"/>
                  <a:gd name="connsiteY1" fmla="*/ 412870 h 412870"/>
                  <a:gd name="connsiteX2" fmla="*/ 831715 w 831715"/>
                  <a:gd name="connsiteY2" fmla="*/ 86993 h 412870"/>
                  <a:gd name="connsiteX3" fmla="*/ 728459 w 831715"/>
                  <a:gd name="connsiteY3" fmla="*/ 2082 h 412870"/>
                  <a:gd name="connsiteX4" fmla="*/ 4332 w 831715"/>
                  <a:gd name="connsiteY4" fmla="*/ 0 h 412870"/>
                  <a:gd name="connsiteX5" fmla="*/ 0 w 831715"/>
                  <a:gd name="connsiteY5" fmla="*/ 82129 h 412870"/>
                  <a:gd name="connsiteX0" fmla="*/ 0 w 839623"/>
                  <a:gd name="connsiteY0" fmla="*/ 82129 h 412870"/>
                  <a:gd name="connsiteX1" fmla="*/ 411830 w 839623"/>
                  <a:gd name="connsiteY1" fmla="*/ 412870 h 412870"/>
                  <a:gd name="connsiteX2" fmla="*/ 831715 w 839623"/>
                  <a:gd name="connsiteY2" fmla="*/ 86993 h 412870"/>
                  <a:gd name="connsiteX3" fmla="*/ 839623 w 839623"/>
                  <a:gd name="connsiteY3" fmla="*/ 2083 h 412870"/>
                  <a:gd name="connsiteX4" fmla="*/ 4332 w 839623"/>
                  <a:gd name="connsiteY4" fmla="*/ 0 h 412870"/>
                  <a:gd name="connsiteX5" fmla="*/ 0 w 839623"/>
                  <a:gd name="connsiteY5" fmla="*/ 82129 h 412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39623" h="412870">
                    <a:moveTo>
                      <a:pt x="0" y="82129"/>
                    </a:moveTo>
                    <a:cubicBezTo>
                      <a:pt x="145105" y="80660"/>
                      <a:pt x="310905" y="152503"/>
                      <a:pt x="411830" y="412870"/>
                    </a:cubicBezTo>
                    <a:cubicBezTo>
                      <a:pt x="496288" y="146322"/>
                      <a:pt x="642482" y="86841"/>
                      <a:pt x="831715" y="86993"/>
                    </a:cubicBezTo>
                    <a:lnTo>
                      <a:pt x="839623" y="2083"/>
                    </a:lnTo>
                    <a:lnTo>
                      <a:pt x="4332" y="0"/>
                    </a:lnTo>
                    <a:lnTo>
                      <a:pt x="0" y="8212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60" name="Group 34"/>
            <p:cNvGrpSpPr/>
            <p:nvPr userDrawn="1"/>
          </p:nvGrpSpPr>
          <p:grpSpPr>
            <a:xfrm>
              <a:off x="140852" y="923636"/>
              <a:ext cx="2187677" cy="322918"/>
              <a:chOff x="-2" y="771525"/>
              <a:chExt cx="3076802" cy="454160"/>
            </a:xfrm>
          </p:grpSpPr>
          <p:sp>
            <p:nvSpPr>
              <p:cNvPr id="61" name="Flowchart: Process 60"/>
              <p:cNvSpPr/>
              <p:nvPr/>
            </p:nvSpPr>
            <p:spPr>
              <a:xfrm>
                <a:off x="-2" y="771525"/>
                <a:ext cx="3076802" cy="454160"/>
              </a:xfrm>
              <a:prstGeom prst="flowChartProcess">
                <a:avLst/>
              </a:prstGeom>
              <a:solidFill>
                <a:srgbClr val="585874"/>
              </a:solidFill>
              <a:ln>
                <a:noFill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2600" b="1" dirty="0">
                  <a:solidFill>
                    <a:schemeClr val="dk1"/>
                  </a:solidFill>
                  <a:latin typeface="Trebuchet MS" pitchFamily="34" charset="0"/>
                </a:endParaRPr>
              </a:p>
            </p:txBody>
          </p:sp>
          <p:grpSp>
            <p:nvGrpSpPr>
              <p:cNvPr id="62" name="Group 36"/>
              <p:cNvGrpSpPr/>
              <p:nvPr/>
            </p:nvGrpSpPr>
            <p:grpSpPr>
              <a:xfrm>
                <a:off x="188844" y="890429"/>
                <a:ext cx="273844" cy="216511"/>
                <a:chOff x="377952" y="1463835"/>
                <a:chExt cx="273844" cy="216511"/>
              </a:xfrm>
            </p:grpSpPr>
            <p:sp>
              <p:nvSpPr>
                <p:cNvPr id="63" name="Rectangle 62"/>
                <p:cNvSpPr/>
                <p:nvPr/>
              </p:nvSpPr>
              <p:spPr>
                <a:xfrm>
                  <a:off x="377952" y="1463835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4" name="Rectangle 63"/>
                <p:cNvSpPr/>
                <p:nvPr/>
              </p:nvSpPr>
              <p:spPr>
                <a:xfrm>
                  <a:off x="377952" y="1549231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5" name="Rectangle 64"/>
                <p:cNvSpPr/>
                <p:nvPr/>
              </p:nvSpPr>
              <p:spPr>
                <a:xfrm>
                  <a:off x="377952" y="1634627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Choice Interactivity - Single Sel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45"/>
          <p:cNvSpPr>
            <a:spLocks noGrp="1"/>
          </p:cNvSpPr>
          <p:nvPr>
            <p:ph type="body" sz="quarter" idx="18" hasCustomPrompt="1"/>
          </p:nvPr>
        </p:nvSpPr>
        <p:spPr>
          <a:xfrm>
            <a:off x="2981326" y="2237601"/>
            <a:ext cx="479107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9900"/>
              </a:buClr>
              <a:buSzPct val="120000"/>
              <a:buFont typeface="Wingdings" pitchFamily="2" charset="2"/>
              <a:buChar char="ü"/>
              <a:tabLst/>
              <a:defRPr lang="en-US" sz="11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84163" indent="-165100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2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457200" indent="-173038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200" kern="12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Option 1</a:t>
            </a:r>
            <a:endParaRPr lang="en-US" dirty="0"/>
          </a:p>
        </p:txBody>
      </p:sp>
      <p:sp>
        <p:nvSpPr>
          <p:cNvPr id="46" name="Title 1"/>
          <p:cNvSpPr>
            <a:spLocks noGrp="1"/>
          </p:cNvSpPr>
          <p:nvPr>
            <p:ph type="ctrTitle" hasCustomPrompt="1"/>
          </p:nvPr>
        </p:nvSpPr>
        <p:spPr>
          <a:xfrm>
            <a:off x="193962" y="925391"/>
            <a:ext cx="2073751" cy="265233"/>
          </a:xfrm>
          <a:prstGeom prst="rect">
            <a:avLst/>
          </a:prstGeom>
          <a:noFill/>
        </p:spPr>
        <p:txBody>
          <a:bodyPr anchor="t">
            <a:noAutofit/>
          </a:bodyPr>
          <a:lstStyle>
            <a:lvl1pPr marL="19050" indent="0" algn="l" defTabSz="914400" rtl="0" eaLnBrk="1" latinLnBrk="0" hangingPunct="1">
              <a:spcBef>
                <a:spcPct val="0"/>
              </a:spcBef>
              <a:buNone/>
              <a:defRPr lang="en-US" sz="1100" kern="1200" dirty="0">
                <a:solidFill>
                  <a:schemeClr val="bg1">
                    <a:lumMod val="50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 dirty="0" smtClean="0"/>
              <a:t>Question 1 of 10</a:t>
            </a:r>
            <a:endParaRPr lang="en-US" dirty="0"/>
          </a:p>
        </p:txBody>
      </p:sp>
      <p:sp>
        <p:nvSpPr>
          <p:cNvPr id="4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1090" y="1343314"/>
            <a:ext cx="5705983" cy="28546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1200">
                <a:solidFill>
                  <a:schemeClr val="bg1">
                    <a:lumMod val="50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Question 1 of 10</a:t>
            </a:r>
            <a:endParaRPr lang="en-US" dirty="0"/>
          </a:p>
        </p:txBody>
      </p:sp>
      <p:sp>
        <p:nvSpPr>
          <p:cNvPr id="68" name="Text Placeholder 45"/>
          <p:cNvSpPr>
            <a:spLocks noGrp="1"/>
          </p:cNvSpPr>
          <p:nvPr>
            <p:ph type="body" sz="quarter" idx="24" hasCustomPrompt="1"/>
          </p:nvPr>
        </p:nvSpPr>
        <p:spPr>
          <a:xfrm>
            <a:off x="2981326" y="2523351"/>
            <a:ext cx="479107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Pct val="150000"/>
              <a:buFont typeface="Open Sans" pitchFamily="34" charset="0"/>
              <a:buChar char="×"/>
              <a:tabLst/>
              <a:defRPr lang="en-US" sz="11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84163" indent="-165100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2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457200" indent="-173038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200" kern="12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Option 2</a:t>
            </a:r>
            <a:endParaRPr lang="en-US" dirty="0"/>
          </a:p>
        </p:txBody>
      </p:sp>
      <p:sp>
        <p:nvSpPr>
          <p:cNvPr id="77" name="Text Placeholder 45"/>
          <p:cNvSpPr>
            <a:spLocks noGrp="1"/>
          </p:cNvSpPr>
          <p:nvPr>
            <p:ph type="body" sz="quarter" idx="25" hasCustomPrompt="1"/>
          </p:nvPr>
        </p:nvSpPr>
        <p:spPr>
          <a:xfrm>
            <a:off x="2977261" y="2804666"/>
            <a:ext cx="479107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Pct val="150000"/>
              <a:buFont typeface="Open Sans" pitchFamily="34" charset="0"/>
              <a:buChar char="×"/>
              <a:tabLst/>
              <a:defRPr lang="en-US" sz="1100" kern="12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84163" indent="-165100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2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457200" indent="-173038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200" kern="12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Pct val="150000"/>
              <a:buFont typeface="Open Sans" pitchFamily="34" charset="0"/>
              <a:buChar char="×"/>
              <a:tabLst/>
            </a:pPr>
            <a:r>
              <a:rPr lang="en-US" dirty="0" smtClean="0"/>
              <a:t>Option 3</a:t>
            </a:r>
            <a:endParaRPr lang="en-US" dirty="0"/>
          </a:p>
        </p:txBody>
      </p:sp>
      <p:sp>
        <p:nvSpPr>
          <p:cNvPr id="78" name="Text Placeholder 45"/>
          <p:cNvSpPr>
            <a:spLocks noGrp="1"/>
          </p:cNvSpPr>
          <p:nvPr>
            <p:ph type="body" sz="quarter" idx="26" hasCustomPrompt="1"/>
          </p:nvPr>
        </p:nvSpPr>
        <p:spPr>
          <a:xfrm>
            <a:off x="2981326" y="3094851"/>
            <a:ext cx="479107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Pct val="150000"/>
              <a:buFont typeface="Open Sans" pitchFamily="34" charset="0"/>
              <a:buChar char="×"/>
              <a:tabLst/>
              <a:defRPr lang="en-US" sz="11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84163" indent="-165100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2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457200" indent="-173038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200" kern="12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Option 4</a:t>
            </a:r>
            <a:endParaRPr lang="en-US" dirty="0"/>
          </a:p>
        </p:txBody>
      </p:sp>
      <p:sp>
        <p:nvSpPr>
          <p:cNvPr id="79" name="Text Placeholder 45"/>
          <p:cNvSpPr>
            <a:spLocks noGrp="1"/>
          </p:cNvSpPr>
          <p:nvPr>
            <p:ph type="body" sz="quarter" idx="27" hasCustomPrompt="1"/>
          </p:nvPr>
        </p:nvSpPr>
        <p:spPr>
          <a:xfrm>
            <a:off x="2981326" y="3380601"/>
            <a:ext cx="479107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Pct val="150000"/>
              <a:buFont typeface="Open Sans" pitchFamily="34" charset="0"/>
              <a:buChar char="×"/>
              <a:tabLst/>
              <a:defRPr lang="en-US" sz="11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84163" indent="-165100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2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457200" indent="-173038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200" kern="12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Option 5</a:t>
            </a:r>
            <a:endParaRPr lang="en-US" dirty="0"/>
          </a:p>
        </p:txBody>
      </p:sp>
      <p:sp>
        <p:nvSpPr>
          <p:cNvPr id="80" name="Text Placeholder 45"/>
          <p:cNvSpPr>
            <a:spLocks noGrp="1"/>
          </p:cNvSpPr>
          <p:nvPr>
            <p:ph type="body" sz="quarter" idx="28" hasCustomPrompt="1"/>
          </p:nvPr>
        </p:nvSpPr>
        <p:spPr>
          <a:xfrm>
            <a:off x="375541" y="2057400"/>
            <a:ext cx="171043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9900"/>
              </a:buClr>
              <a:buSzPct val="120000"/>
              <a:buFont typeface="Wingdings" pitchFamily="2" charset="2"/>
              <a:buChar char="ü"/>
              <a:tabLst/>
              <a:defRPr lang="en-US" sz="10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84163" indent="-165100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2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457200" indent="-173038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200" kern="12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Option 1</a:t>
            </a:r>
            <a:endParaRPr lang="en-US" dirty="0"/>
          </a:p>
        </p:txBody>
      </p:sp>
      <p:sp>
        <p:nvSpPr>
          <p:cNvPr id="81" name="Text Placeholder 45"/>
          <p:cNvSpPr>
            <a:spLocks noGrp="1"/>
          </p:cNvSpPr>
          <p:nvPr>
            <p:ph type="body" sz="quarter" idx="29" hasCustomPrompt="1"/>
          </p:nvPr>
        </p:nvSpPr>
        <p:spPr>
          <a:xfrm>
            <a:off x="375541" y="2343150"/>
            <a:ext cx="171043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Pct val="150000"/>
              <a:buFont typeface="Open Sans" pitchFamily="34" charset="0"/>
              <a:buChar char="×"/>
              <a:tabLst/>
              <a:defRPr lang="en-US" sz="10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84163" indent="-165100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2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457200" indent="-173038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200" kern="12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Option 2</a:t>
            </a:r>
            <a:endParaRPr lang="en-US" dirty="0"/>
          </a:p>
        </p:txBody>
      </p:sp>
      <p:sp>
        <p:nvSpPr>
          <p:cNvPr id="82" name="Text Placeholder 45"/>
          <p:cNvSpPr>
            <a:spLocks noGrp="1"/>
          </p:cNvSpPr>
          <p:nvPr>
            <p:ph type="body" sz="quarter" idx="30" hasCustomPrompt="1"/>
          </p:nvPr>
        </p:nvSpPr>
        <p:spPr>
          <a:xfrm>
            <a:off x="371476" y="2624465"/>
            <a:ext cx="171043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Pct val="150000"/>
              <a:buFont typeface="Open Sans" pitchFamily="34" charset="0"/>
              <a:buChar char="×"/>
              <a:tabLst/>
              <a:defRPr lang="en-US" sz="1000" kern="12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84163" indent="-165100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2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457200" indent="-173038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200" kern="12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9900"/>
              </a:buClr>
              <a:buSzPct val="120000"/>
              <a:buFont typeface="Wingdings" pitchFamily="2" charset="2"/>
              <a:buChar char="ü"/>
              <a:tabLst/>
            </a:pPr>
            <a:r>
              <a:rPr lang="en-US" dirty="0" smtClean="0"/>
              <a:t>Option 3</a:t>
            </a:r>
            <a:endParaRPr lang="en-US" dirty="0"/>
          </a:p>
        </p:txBody>
      </p:sp>
      <p:sp>
        <p:nvSpPr>
          <p:cNvPr id="83" name="Text Placeholder 45"/>
          <p:cNvSpPr>
            <a:spLocks noGrp="1"/>
          </p:cNvSpPr>
          <p:nvPr>
            <p:ph type="body" sz="quarter" idx="31" hasCustomPrompt="1"/>
          </p:nvPr>
        </p:nvSpPr>
        <p:spPr>
          <a:xfrm>
            <a:off x="375541" y="2914650"/>
            <a:ext cx="171043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Pct val="150000"/>
              <a:buFont typeface="Open Sans" pitchFamily="34" charset="0"/>
              <a:buChar char="×"/>
              <a:tabLst/>
              <a:defRPr lang="en-US" sz="10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84163" indent="-165100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2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457200" indent="-173038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200" kern="12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Option 4</a:t>
            </a:r>
            <a:endParaRPr lang="en-US" dirty="0"/>
          </a:p>
        </p:txBody>
      </p:sp>
      <p:sp>
        <p:nvSpPr>
          <p:cNvPr id="84" name="Text Placeholder 45"/>
          <p:cNvSpPr>
            <a:spLocks noGrp="1"/>
          </p:cNvSpPr>
          <p:nvPr>
            <p:ph type="body" sz="quarter" idx="32" hasCustomPrompt="1"/>
          </p:nvPr>
        </p:nvSpPr>
        <p:spPr>
          <a:xfrm>
            <a:off x="375541" y="3200400"/>
            <a:ext cx="171043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Pct val="150000"/>
              <a:buFont typeface="Open Sans" pitchFamily="34" charset="0"/>
              <a:buChar char="×"/>
              <a:tabLst/>
              <a:defRPr lang="en-US" sz="10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84163" indent="-165100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2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457200" indent="-173038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200" kern="12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Option 5</a:t>
            </a:r>
            <a:endParaRPr lang="en-US" dirty="0"/>
          </a:p>
        </p:txBody>
      </p:sp>
      <p:sp>
        <p:nvSpPr>
          <p:cNvPr id="85" name="Text Placeholder 45"/>
          <p:cNvSpPr>
            <a:spLocks noGrp="1"/>
          </p:cNvSpPr>
          <p:nvPr>
            <p:ph type="body" sz="quarter" idx="19" hasCustomPrompt="1"/>
          </p:nvPr>
        </p:nvSpPr>
        <p:spPr>
          <a:xfrm>
            <a:off x="6694392" y="5257800"/>
            <a:ext cx="1992408" cy="990600"/>
          </a:xfrm>
          <a:prstGeom prst="rect">
            <a:avLst/>
          </a:prstGeom>
          <a:solidFill>
            <a:srgbClr val="CB5555"/>
          </a:solidFill>
        </p:spPr>
        <p:txBody>
          <a:bodyPr/>
          <a:lstStyle>
            <a:lvl1pPr marL="119063" indent="-119063">
              <a:defRPr sz="1400">
                <a:solidFill>
                  <a:schemeClr val="bg1"/>
                </a:solidFill>
              </a:defRPr>
            </a:lvl1pPr>
            <a:lvl2pPr marL="284163" indent="-165100">
              <a:defRPr sz="1300">
                <a:solidFill>
                  <a:schemeClr val="bg1"/>
                </a:solidFill>
              </a:defRPr>
            </a:lvl2pPr>
            <a:lvl3pPr marL="457200" indent="-173038">
              <a:defRPr sz="1300"/>
            </a:lvl3pPr>
          </a:lstStyle>
          <a:p>
            <a:pPr lvl="0"/>
            <a:r>
              <a:rPr lang="en-US" dirty="0" smtClean="0"/>
              <a:t>Incorrect 2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86" name="Text Placeholder 45"/>
          <p:cNvSpPr>
            <a:spLocks noGrp="1"/>
          </p:cNvSpPr>
          <p:nvPr>
            <p:ph type="body" sz="quarter" idx="33" hasCustomPrompt="1"/>
          </p:nvPr>
        </p:nvSpPr>
        <p:spPr>
          <a:xfrm>
            <a:off x="4636992" y="5257800"/>
            <a:ext cx="1992408" cy="990600"/>
          </a:xfrm>
          <a:prstGeom prst="rect">
            <a:avLst/>
          </a:prstGeom>
          <a:solidFill>
            <a:srgbClr val="EFA95B"/>
          </a:solidFill>
        </p:spPr>
        <p:txBody>
          <a:bodyPr/>
          <a:lstStyle>
            <a:lvl1pPr marL="119063" indent="-119063">
              <a:defRPr sz="14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284163" indent="-165100">
              <a:defRPr sz="13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457200" indent="-173038">
              <a:defRPr sz="1300"/>
            </a:lvl3pPr>
          </a:lstStyle>
          <a:p>
            <a:pPr lvl="0"/>
            <a:r>
              <a:rPr lang="en-US" dirty="0" smtClean="0"/>
              <a:t>Incorrect 1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87" name="Text Placeholder 45"/>
          <p:cNvSpPr>
            <a:spLocks noGrp="1"/>
          </p:cNvSpPr>
          <p:nvPr>
            <p:ph type="body" sz="quarter" idx="34" hasCustomPrompt="1"/>
          </p:nvPr>
        </p:nvSpPr>
        <p:spPr>
          <a:xfrm>
            <a:off x="2579592" y="5257800"/>
            <a:ext cx="1992408" cy="990600"/>
          </a:xfrm>
          <a:prstGeom prst="rect">
            <a:avLst/>
          </a:prstGeom>
          <a:solidFill>
            <a:srgbClr val="D3E1C1"/>
          </a:solidFill>
        </p:spPr>
        <p:txBody>
          <a:bodyPr/>
          <a:lstStyle>
            <a:lvl1pPr marL="119063" indent="-119063"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284163" indent="-165100">
              <a:defRPr sz="13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457200" indent="-173038">
              <a:defRPr sz="1300"/>
            </a:lvl3pPr>
          </a:lstStyle>
          <a:p>
            <a:pPr lvl="0"/>
            <a:r>
              <a:rPr lang="en-US" dirty="0" smtClean="0"/>
              <a:t>Correct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95" name="Text Placeholder 94"/>
          <p:cNvSpPr>
            <a:spLocks noGrp="1"/>
          </p:cNvSpPr>
          <p:nvPr>
            <p:ph type="body" sz="quarter" idx="35" hasCustomPrompt="1"/>
          </p:nvPr>
        </p:nvSpPr>
        <p:spPr>
          <a:xfrm>
            <a:off x="2590800" y="4876800"/>
            <a:ext cx="6096000" cy="3048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eedback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1" name="Text Placeholder 50"/>
          <p:cNvSpPr>
            <a:spLocks noGrp="1"/>
          </p:cNvSpPr>
          <p:nvPr>
            <p:ph type="body" sz="quarter" idx="36" hasCustomPrompt="1"/>
          </p:nvPr>
        </p:nvSpPr>
        <p:spPr>
          <a:xfrm>
            <a:off x="2971800" y="3837801"/>
            <a:ext cx="1447800" cy="276999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wrap="square">
            <a:spAutoFit/>
          </a:bodyPr>
          <a:lstStyle>
            <a:lvl1pPr algn="ctr">
              <a:buNone/>
              <a:defRPr sz="1200" b="1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>
              <a:defRPr sz="1200" b="1"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>
              <a:defRPr sz="1200" b="1"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  <a:lvl4pPr>
              <a:defRPr sz="1200" b="1">
                <a:latin typeface="Open Sans" pitchFamily="34" charset="0"/>
                <a:ea typeface="Open Sans" pitchFamily="34" charset="0"/>
                <a:cs typeface="Open Sans" pitchFamily="34" charset="0"/>
              </a:defRPr>
            </a:lvl4pPr>
            <a:lvl5pPr>
              <a:defRPr sz="1200" b="1">
                <a:latin typeface="Open Sans" pitchFamily="34" charset="0"/>
                <a:ea typeface="Open Sans" pitchFamily="34" charset="0"/>
                <a:cs typeface="Open Sans" pitchFamily="34" charset="0"/>
              </a:defRPr>
            </a:lvl5pPr>
          </a:lstStyle>
          <a:p>
            <a:pPr lvl="0"/>
            <a:r>
              <a:rPr lang="en-US" dirty="0" smtClean="0"/>
              <a:t>Check Answer</a:t>
            </a:r>
            <a:endParaRPr lang="en-US" dirty="0"/>
          </a:p>
        </p:txBody>
      </p:sp>
      <p:sp>
        <p:nvSpPr>
          <p:cNvPr id="52" name="Text Placeholder 50"/>
          <p:cNvSpPr>
            <a:spLocks noGrp="1"/>
          </p:cNvSpPr>
          <p:nvPr>
            <p:ph type="body" sz="quarter" idx="37" hasCustomPrompt="1"/>
          </p:nvPr>
        </p:nvSpPr>
        <p:spPr>
          <a:xfrm>
            <a:off x="514350" y="3609201"/>
            <a:ext cx="1447800" cy="276999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wrap="square">
            <a:spAutoFit/>
          </a:bodyPr>
          <a:lstStyle>
            <a:lvl1pPr algn="ctr">
              <a:buNone/>
              <a:defRPr sz="1200" b="1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>
              <a:defRPr sz="1200" b="1"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>
              <a:defRPr sz="1200" b="1"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  <a:lvl4pPr>
              <a:defRPr sz="1200" b="1">
                <a:latin typeface="Open Sans" pitchFamily="34" charset="0"/>
                <a:ea typeface="Open Sans" pitchFamily="34" charset="0"/>
                <a:cs typeface="Open Sans" pitchFamily="34" charset="0"/>
              </a:defRPr>
            </a:lvl4pPr>
            <a:lvl5pPr>
              <a:defRPr sz="1200" b="1">
                <a:latin typeface="Open Sans" pitchFamily="34" charset="0"/>
                <a:ea typeface="Open Sans" pitchFamily="34" charset="0"/>
                <a:cs typeface="Open Sans" pitchFamily="34" charset="0"/>
              </a:defRPr>
            </a:lvl5pPr>
          </a:lstStyle>
          <a:p>
            <a:pPr lvl="0"/>
            <a:r>
              <a:rPr lang="en-US" dirty="0" smtClean="0"/>
              <a:t>Check Answer</a:t>
            </a:r>
            <a:endParaRPr lang="en-US" dirty="0"/>
          </a:p>
        </p:txBody>
      </p:sp>
      <p:sp>
        <p:nvSpPr>
          <p:cNvPr id="56" name="Subtitle 2"/>
          <p:cNvSpPr txBox="1">
            <a:spLocks/>
          </p:cNvSpPr>
          <p:nvPr userDrawn="1"/>
        </p:nvSpPr>
        <p:spPr>
          <a:xfrm>
            <a:off x="3537840" y="247939"/>
            <a:ext cx="5072760" cy="28546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1200">
                <a:solidFill>
                  <a:schemeClr val="bg1">
                    <a:lumMod val="9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1100" b="0" i="1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grpSp>
        <p:nvGrpSpPr>
          <p:cNvPr id="57" name="Group 72"/>
          <p:cNvGrpSpPr/>
          <p:nvPr userDrawn="1"/>
        </p:nvGrpSpPr>
        <p:grpSpPr>
          <a:xfrm>
            <a:off x="140852" y="554828"/>
            <a:ext cx="8826701" cy="724418"/>
            <a:chOff x="140852" y="923636"/>
            <a:chExt cx="8826701" cy="724418"/>
          </a:xfrm>
        </p:grpSpPr>
        <p:grpSp>
          <p:nvGrpSpPr>
            <p:cNvPr id="58" name="Group 12"/>
            <p:cNvGrpSpPr/>
            <p:nvPr/>
          </p:nvGrpSpPr>
          <p:grpSpPr>
            <a:xfrm>
              <a:off x="2459187" y="1282395"/>
              <a:ext cx="6508366" cy="365659"/>
              <a:chOff x="-1" y="711412"/>
              <a:chExt cx="9153525" cy="514273"/>
            </a:xfrm>
          </p:grpSpPr>
          <p:sp>
            <p:nvSpPr>
              <p:cNvPr id="69" name="Flowchart: Process 68"/>
              <p:cNvSpPr/>
              <p:nvPr/>
            </p:nvSpPr>
            <p:spPr>
              <a:xfrm>
                <a:off x="-1" y="771525"/>
                <a:ext cx="9153525" cy="454160"/>
              </a:xfrm>
              <a:prstGeom prst="flowChartProcess">
                <a:avLst/>
              </a:prstGeom>
              <a:solidFill>
                <a:srgbClr val="585874"/>
              </a:solidFill>
              <a:ln>
                <a:noFill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algn="ctr" defTabSz="914400" rtl="0" eaLnBrk="1" latinLnBrk="0" hangingPunct="1"/>
                <a:endParaRPr lang="en-US" sz="2600" b="1" kern="1200" dirty="0">
                  <a:solidFill>
                    <a:schemeClr val="dk1"/>
                  </a:solidFill>
                  <a:latin typeface="Trebuchet MS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70" name="Group 19"/>
              <p:cNvGrpSpPr/>
              <p:nvPr/>
            </p:nvGrpSpPr>
            <p:grpSpPr>
              <a:xfrm>
                <a:off x="188844" y="890429"/>
                <a:ext cx="273844" cy="216511"/>
                <a:chOff x="377952" y="1463835"/>
                <a:chExt cx="273844" cy="216511"/>
              </a:xfrm>
            </p:grpSpPr>
            <p:sp>
              <p:nvSpPr>
                <p:cNvPr id="72" name="Rectangle 71"/>
                <p:cNvSpPr/>
                <p:nvPr/>
              </p:nvSpPr>
              <p:spPr>
                <a:xfrm>
                  <a:off x="377952" y="1463835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3" name="Rectangle 72"/>
                <p:cNvSpPr/>
                <p:nvPr/>
              </p:nvSpPr>
              <p:spPr>
                <a:xfrm>
                  <a:off x="377952" y="1549231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4" name="Rectangle 73"/>
                <p:cNvSpPr/>
                <p:nvPr/>
              </p:nvSpPr>
              <p:spPr>
                <a:xfrm>
                  <a:off x="377952" y="1634627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71" name="Freeform 70"/>
              <p:cNvSpPr/>
              <p:nvPr/>
            </p:nvSpPr>
            <p:spPr>
              <a:xfrm>
                <a:off x="534850" y="711412"/>
                <a:ext cx="461548" cy="226958"/>
              </a:xfrm>
              <a:custGeom>
                <a:avLst/>
                <a:gdLst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831715"/>
                  <a:gd name="connsiteY0" fmla="*/ 0 h 330741"/>
                  <a:gd name="connsiteX1" fmla="*/ 398834 w 831715"/>
                  <a:gd name="connsiteY1" fmla="*/ 330741 h 330741"/>
                  <a:gd name="connsiteX2" fmla="*/ 831715 w 831715"/>
                  <a:gd name="connsiteY2" fmla="*/ 4864 h 330741"/>
                  <a:gd name="connsiteX3" fmla="*/ 0 w 831715"/>
                  <a:gd name="connsiteY3" fmla="*/ 0 h 330741"/>
                  <a:gd name="connsiteX0" fmla="*/ 0 w 831715"/>
                  <a:gd name="connsiteY0" fmla="*/ 1469 h 332210"/>
                  <a:gd name="connsiteX1" fmla="*/ 398834 w 831715"/>
                  <a:gd name="connsiteY1" fmla="*/ 332210 h 332210"/>
                  <a:gd name="connsiteX2" fmla="*/ 831715 w 831715"/>
                  <a:gd name="connsiteY2" fmla="*/ 6333 h 332210"/>
                  <a:gd name="connsiteX3" fmla="*/ 0 w 831715"/>
                  <a:gd name="connsiteY3" fmla="*/ 1469 h 332210"/>
                  <a:gd name="connsiteX0" fmla="*/ 0 w 831715"/>
                  <a:gd name="connsiteY0" fmla="*/ 1469 h 332210"/>
                  <a:gd name="connsiteX1" fmla="*/ 411830 w 831715"/>
                  <a:gd name="connsiteY1" fmla="*/ 332210 h 332210"/>
                  <a:gd name="connsiteX2" fmla="*/ 831715 w 831715"/>
                  <a:gd name="connsiteY2" fmla="*/ 6333 h 332210"/>
                  <a:gd name="connsiteX3" fmla="*/ 0 w 831715"/>
                  <a:gd name="connsiteY3" fmla="*/ 1469 h 332210"/>
                  <a:gd name="connsiteX0" fmla="*/ 0 w 831715"/>
                  <a:gd name="connsiteY0" fmla="*/ 144420 h 475161"/>
                  <a:gd name="connsiteX1" fmla="*/ 411830 w 831715"/>
                  <a:gd name="connsiteY1" fmla="*/ 475161 h 475161"/>
                  <a:gd name="connsiteX2" fmla="*/ 831715 w 831715"/>
                  <a:gd name="connsiteY2" fmla="*/ 149284 h 475161"/>
                  <a:gd name="connsiteX3" fmla="*/ 667106 w 831715"/>
                  <a:gd name="connsiteY3" fmla="*/ 0 h 475161"/>
                  <a:gd name="connsiteX4" fmla="*/ 0 w 831715"/>
                  <a:gd name="connsiteY4" fmla="*/ 144420 h 475161"/>
                  <a:gd name="connsiteX0" fmla="*/ 0 w 831715"/>
                  <a:gd name="connsiteY0" fmla="*/ 144420 h 475161"/>
                  <a:gd name="connsiteX1" fmla="*/ 411830 w 831715"/>
                  <a:gd name="connsiteY1" fmla="*/ 475161 h 475161"/>
                  <a:gd name="connsiteX2" fmla="*/ 831715 w 831715"/>
                  <a:gd name="connsiteY2" fmla="*/ 149284 h 475161"/>
                  <a:gd name="connsiteX3" fmla="*/ 667106 w 831715"/>
                  <a:gd name="connsiteY3" fmla="*/ 0 h 475161"/>
                  <a:gd name="connsiteX4" fmla="*/ 4331 w 831715"/>
                  <a:gd name="connsiteY4" fmla="*/ 8665 h 475161"/>
                  <a:gd name="connsiteX5" fmla="*/ 0 w 831715"/>
                  <a:gd name="connsiteY5" fmla="*/ 144420 h 475161"/>
                  <a:gd name="connsiteX0" fmla="*/ 0 w 831715"/>
                  <a:gd name="connsiteY0" fmla="*/ 140087 h 470828"/>
                  <a:gd name="connsiteX1" fmla="*/ 411830 w 831715"/>
                  <a:gd name="connsiteY1" fmla="*/ 470828 h 470828"/>
                  <a:gd name="connsiteX2" fmla="*/ 831715 w 831715"/>
                  <a:gd name="connsiteY2" fmla="*/ 144951 h 470828"/>
                  <a:gd name="connsiteX3" fmla="*/ 831715 w 831715"/>
                  <a:gd name="connsiteY3" fmla="*/ 0 h 470828"/>
                  <a:gd name="connsiteX4" fmla="*/ 4331 w 831715"/>
                  <a:gd name="connsiteY4" fmla="*/ 4332 h 470828"/>
                  <a:gd name="connsiteX5" fmla="*/ 0 w 831715"/>
                  <a:gd name="connsiteY5" fmla="*/ 140087 h 470828"/>
                  <a:gd name="connsiteX0" fmla="*/ 0 w 831715"/>
                  <a:gd name="connsiteY0" fmla="*/ 135755 h 466496"/>
                  <a:gd name="connsiteX1" fmla="*/ 411830 w 831715"/>
                  <a:gd name="connsiteY1" fmla="*/ 466496 h 466496"/>
                  <a:gd name="connsiteX2" fmla="*/ 831715 w 831715"/>
                  <a:gd name="connsiteY2" fmla="*/ 140619 h 466496"/>
                  <a:gd name="connsiteX3" fmla="*/ 728459 w 831715"/>
                  <a:gd name="connsiteY3" fmla="*/ 55708 h 466496"/>
                  <a:gd name="connsiteX4" fmla="*/ 4331 w 831715"/>
                  <a:gd name="connsiteY4" fmla="*/ 0 h 466496"/>
                  <a:gd name="connsiteX5" fmla="*/ 0 w 831715"/>
                  <a:gd name="connsiteY5" fmla="*/ 135755 h 466496"/>
                  <a:gd name="connsiteX0" fmla="*/ 0 w 831715"/>
                  <a:gd name="connsiteY0" fmla="*/ 82129 h 412870"/>
                  <a:gd name="connsiteX1" fmla="*/ 411830 w 831715"/>
                  <a:gd name="connsiteY1" fmla="*/ 412870 h 412870"/>
                  <a:gd name="connsiteX2" fmla="*/ 831715 w 831715"/>
                  <a:gd name="connsiteY2" fmla="*/ 86993 h 412870"/>
                  <a:gd name="connsiteX3" fmla="*/ 728459 w 831715"/>
                  <a:gd name="connsiteY3" fmla="*/ 2082 h 412870"/>
                  <a:gd name="connsiteX4" fmla="*/ 4332 w 831715"/>
                  <a:gd name="connsiteY4" fmla="*/ 0 h 412870"/>
                  <a:gd name="connsiteX5" fmla="*/ 0 w 831715"/>
                  <a:gd name="connsiteY5" fmla="*/ 82129 h 412870"/>
                  <a:gd name="connsiteX0" fmla="*/ 0 w 839623"/>
                  <a:gd name="connsiteY0" fmla="*/ 82129 h 412870"/>
                  <a:gd name="connsiteX1" fmla="*/ 411830 w 839623"/>
                  <a:gd name="connsiteY1" fmla="*/ 412870 h 412870"/>
                  <a:gd name="connsiteX2" fmla="*/ 831715 w 839623"/>
                  <a:gd name="connsiteY2" fmla="*/ 86993 h 412870"/>
                  <a:gd name="connsiteX3" fmla="*/ 839623 w 839623"/>
                  <a:gd name="connsiteY3" fmla="*/ 2083 h 412870"/>
                  <a:gd name="connsiteX4" fmla="*/ 4332 w 839623"/>
                  <a:gd name="connsiteY4" fmla="*/ 0 h 412870"/>
                  <a:gd name="connsiteX5" fmla="*/ 0 w 839623"/>
                  <a:gd name="connsiteY5" fmla="*/ 82129 h 412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39623" h="412870">
                    <a:moveTo>
                      <a:pt x="0" y="82129"/>
                    </a:moveTo>
                    <a:cubicBezTo>
                      <a:pt x="145105" y="80660"/>
                      <a:pt x="310905" y="152503"/>
                      <a:pt x="411830" y="412870"/>
                    </a:cubicBezTo>
                    <a:cubicBezTo>
                      <a:pt x="496288" y="146322"/>
                      <a:pt x="642482" y="86841"/>
                      <a:pt x="831715" y="86993"/>
                    </a:cubicBezTo>
                    <a:lnTo>
                      <a:pt x="839623" y="2083"/>
                    </a:lnTo>
                    <a:lnTo>
                      <a:pt x="4332" y="0"/>
                    </a:lnTo>
                    <a:lnTo>
                      <a:pt x="0" y="8212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59" name="Group 34"/>
            <p:cNvGrpSpPr/>
            <p:nvPr userDrawn="1"/>
          </p:nvGrpSpPr>
          <p:grpSpPr>
            <a:xfrm>
              <a:off x="140852" y="923636"/>
              <a:ext cx="2187677" cy="322918"/>
              <a:chOff x="-2" y="771525"/>
              <a:chExt cx="3076802" cy="454160"/>
            </a:xfrm>
          </p:grpSpPr>
          <p:sp>
            <p:nvSpPr>
              <p:cNvPr id="60" name="Flowchart: Process 59"/>
              <p:cNvSpPr/>
              <p:nvPr/>
            </p:nvSpPr>
            <p:spPr>
              <a:xfrm>
                <a:off x="-2" y="771525"/>
                <a:ext cx="3076802" cy="454160"/>
              </a:xfrm>
              <a:prstGeom prst="flowChartProcess">
                <a:avLst/>
              </a:prstGeom>
              <a:solidFill>
                <a:srgbClr val="585874"/>
              </a:solidFill>
              <a:ln>
                <a:noFill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2600" b="1" dirty="0">
                  <a:solidFill>
                    <a:schemeClr val="dk1"/>
                  </a:solidFill>
                  <a:latin typeface="Trebuchet MS" pitchFamily="34" charset="0"/>
                </a:endParaRPr>
              </a:p>
            </p:txBody>
          </p:sp>
          <p:grpSp>
            <p:nvGrpSpPr>
              <p:cNvPr id="62" name="Group 36"/>
              <p:cNvGrpSpPr/>
              <p:nvPr/>
            </p:nvGrpSpPr>
            <p:grpSpPr>
              <a:xfrm>
                <a:off x="188844" y="890429"/>
                <a:ext cx="273844" cy="216511"/>
                <a:chOff x="377952" y="1463835"/>
                <a:chExt cx="273844" cy="216511"/>
              </a:xfrm>
            </p:grpSpPr>
            <p:sp>
              <p:nvSpPr>
                <p:cNvPr id="63" name="Rectangle 62"/>
                <p:cNvSpPr/>
                <p:nvPr/>
              </p:nvSpPr>
              <p:spPr>
                <a:xfrm>
                  <a:off x="377952" y="1463835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6" name="Rectangle 65"/>
                <p:cNvSpPr/>
                <p:nvPr/>
              </p:nvSpPr>
              <p:spPr>
                <a:xfrm>
                  <a:off x="377952" y="1549231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7" name="Rectangle 66"/>
                <p:cNvSpPr/>
                <p:nvPr/>
              </p:nvSpPr>
              <p:spPr>
                <a:xfrm>
                  <a:off x="377952" y="1634627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sp>
        <p:nvSpPr>
          <p:cNvPr id="40" name="Text Placeholder 39"/>
          <p:cNvSpPr>
            <a:spLocks noGrp="1"/>
          </p:cNvSpPr>
          <p:nvPr>
            <p:ph type="body" sz="quarter" idx="38" hasCustomPrompt="1"/>
          </p:nvPr>
        </p:nvSpPr>
        <p:spPr>
          <a:xfrm>
            <a:off x="2819400" y="1676401"/>
            <a:ext cx="5791200" cy="27622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Open Sans" pitchFamily="34" charset="0"/>
                <a:ea typeface="Open Sans" pitchFamily="34" charset="0"/>
                <a:cs typeface="Open Sans" pitchFamily="34" charset="0"/>
              </a:rPr>
              <a:t>Add Question?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39" hasCustomPrompt="1"/>
          </p:nvPr>
        </p:nvSpPr>
        <p:spPr>
          <a:xfrm>
            <a:off x="2819400" y="1924050"/>
            <a:ext cx="5791200" cy="27622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100" b="0" i="0" u="none" strike="noStrike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Open Sans" pitchFamily="34" charset="0"/>
                <a:ea typeface="Open Sans" pitchFamily="34" charset="0"/>
                <a:cs typeface="Open Sans" pitchFamily="34" charset="0"/>
              </a:rPr>
              <a:t>Select the correct option and click CHECK ANSWER. </a:t>
            </a:r>
            <a:endParaRPr kumimoji="0" lang="en-US" sz="1100" b="0" i="1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50" name="Content Placeholder 49"/>
          <p:cNvSpPr>
            <a:spLocks noGrp="1"/>
          </p:cNvSpPr>
          <p:nvPr>
            <p:ph sz="quarter" idx="42" hasCustomPrompt="1"/>
          </p:nvPr>
        </p:nvSpPr>
        <p:spPr>
          <a:xfrm>
            <a:off x="301752" y="1237488"/>
            <a:ext cx="1892808" cy="262128"/>
          </a:xfrm>
          <a:prstGeom prst="rect">
            <a:avLst/>
          </a:prstGeom>
        </p:spPr>
        <p:txBody>
          <a:bodyPr/>
          <a:lstStyle>
            <a:lvl1pPr marL="1905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lvl1pPr>
          </a:lstStyle>
          <a:p>
            <a:pPr lvl="0"/>
            <a:r>
              <a:rPr lang="en-US" dirty="0" smtClean="0"/>
              <a:t>Add Question?</a:t>
            </a:r>
          </a:p>
        </p:txBody>
      </p:sp>
      <p:sp>
        <p:nvSpPr>
          <p:cNvPr id="53" name="Content Placeholder 49"/>
          <p:cNvSpPr>
            <a:spLocks noGrp="1"/>
          </p:cNvSpPr>
          <p:nvPr>
            <p:ph sz="quarter" idx="43" hasCustomPrompt="1"/>
          </p:nvPr>
        </p:nvSpPr>
        <p:spPr>
          <a:xfrm>
            <a:off x="301752" y="1536192"/>
            <a:ext cx="1892808" cy="26212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b="0" i="0" u="none" strike="noStrike" smtClean="0"/>
            </a:lvl1pPr>
          </a:lstStyle>
          <a:p>
            <a:pPr lvl="0"/>
            <a:r>
              <a:rPr lang="en-US" dirty="0" smtClean="0"/>
              <a:t>Select the correct option and click CHECK ANSWER. 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Choice Interactivity - Multiple Sel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45"/>
          <p:cNvSpPr>
            <a:spLocks noGrp="1"/>
          </p:cNvSpPr>
          <p:nvPr>
            <p:ph type="body" sz="quarter" idx="18" hasCustomPrompt="1"/>
          </p:nvPr>
        </p:nvSpPr>
        <p:spPr>
          <a:xfrm>
            <a:off x="2981326" y="2237601"/>
            <a:ext cx="479107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9900"/>
              </a:buClr>
              <a:buSzPct val="120000"/>
              <a:buFont typeface="Wingdings" pitchFamily="2" charset="2"/>
              <a:buChar char="ü"/>
              <a:tabLst/>
              <a:defRPr lang="en-US" sz="11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84163" indent="-165100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2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457200" indent="-173038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200" kern="12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Option 1</a:t>
            </a:r>
            <a:endParaRPr lang="en-US" dirty="0"/>
          </a:p>
        </p:txBody>
      </p:sp>
      <p:sp>
        <p:nvSpPr>
          <p:cNvPr id="46" name="Title 1"/>
          <p:cNvSpPr>
            <a:spLocks noGrp="1"/>
          </p:cNvSpPr>
          <p:nvPr>
            <p:ph type="ctrTitle" hasCustomPrompt="1"/>
          </p:nvPr>
        </p:nvSpPr>
        <p:spPr>
          <a:xfrm>
            <a:off x="193962" y="925391"/>
            <a:ext cx="2073751" cy="265233"/>
          </a:xfrm>
          <a:prstGeom prst="rect">
            <a:avLst/>
          </a:prstGeom>
          <a:noFill/>
        </p:spPr>
        <p:txBody>
          <a:bodyPr anchor="t">
            <a:noAutofit/>
          </a:bodyPr>
          <a:lstStyle>
            <a:lvl1pPr marL="19050" indent="0" algn="l" defTabSz="914400" rtl="0" eaLnBrk="1" latinLnBrk="0" hangingPunct="1">
              <a:spcBef>
                <a:spcPct val="0"/>
              </a:spcBef>
              <a:buNone/>
              <a:defRPr lang="en-US" sz="1100" kern="1200" dirty="0">
                <a:solidFill>
                  <a:schemeClr val="bg1">
                    <a:lumMod val="50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 dirty="0" smtClean="0"/>
              <a:t>Question 1 of 10</a:t>
            </a:r>
            <a:endParaRPr lang="en-US" dirty="0"/>
          </a:p>
        </p:txBody>
      </p:sp>
      <p:sp>
        <p:nvSpPr>
          <p:cNvPr id="4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1090" y="1343314"/>
            <a:ext cx="5705983" cy="28546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1200">
                <a:solidFill>
                  <a:schemeClr val="bg1">
                    <a:lumMod val="50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Question 1 of 10</a:t>
            </a:r>
            <a:endParaRPr lang="en-US" dirty="0"/>
          </a:p>
        </p:txBody>
      </p:sp>
      <p:sp>
        <p:nvSpPr>
          <p:cNvPr id="68" name="Text Placeholder 45"/>
          <p:cNvSpPr>
            <a:spLocks noGrp="1"/>
          </p:cNvSpPr>
          <p:nvPr>
            <p:ph type="body" sz="quarter" idx="24" hasCustomPrompt="1"/>
          </p:nvPr>
        </p:nvSpPr>
        <p:spPr>
          <a:xfrm>
            <a:off x="2981326" y="2523351"/>
            <a:ext cx="479107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Pct val="150000"/>
              <a:buFont typeface="Open Sans" pitchFamily="34" charset="0"/>
              <a:buChar char="×"/>
              <a:tabLst/>
              <a:defRPr lang="en-US" sz="11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84163" indent="-165100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2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457200" indent="-173038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200" kern="12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Option 2</a:t>
            </a:r>
            <a:endParaRPr lang="en-US" dirty="0"/>
          </a:p>
        </p:txBody>
      </p:sp>
      <p:sp>
        <p:nvSpPr>
          <p:cNvPr id="77" name="Text Placeholder 45"/>
          <p:cNvSpPr>
            <a:spLocks noGrp="1"/>
          </p:cNvSpPr>
          <p:nvPr>
            <p:ph type="body" sz="quarter" idx="25" hasCustomPrompt="1"/>
          </p:nvPr>
        </p:nvSpPr>
        <p:spPr>
          <a:xfrm>
            <a:off x="2977261" y="2804666"/>
            <a:ext cx="479107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Pct val="150000"/>
              <a:buFont typeface="Open Sans" pitchFamily="34" charset="0"/>
              <a:buChar char="×"/>
              <a:tabLst/>
              <a:defRPr lang="en-US" sz="1100" kern="12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84163" indent="-165100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2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457200" indent="-173038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200" kern="12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9900"/>
              </a:buClr>
              <a:buSzPct val="120000"/>
              <a:buFont typeface="Wingdings" pitchFamily="2" charset="2"/>
              <a:buChar char="ü"/>
              <a:tabLst/>
            </a:pPr>
            <a:r>
              <a:rPr lang="en-US" dirty="0" smtClean="0"/>
              <a:t>Option 3</a:t>
            </a:r>
            <a:endParaRPr lang="en-US" dirty="0"/>
          </a:p>
        </p:txBody>
      </p:sp>
      <p:sp>
        <p:nvSpPr>
          <p:cNvPr id="78" name="Text Placeholder 45"/>
          <p:cNvSpPr>
            <a:spLocks noGrp="1"/>
          </p:cNvSpPr>
          <p:nvPr>
            <p:ph type="body" sz="quarter" idx="26" hasCustomPrompt="1"/>
          </p:nvPr>
        </p:nvSpPr>
        <p:spPr>
          <a:xfrm>
            <a:off x="2981326" y="3094851"/>
            <a:ext cx="479107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Pct val="150000"/>
              <a:buFont typeface="Open Sans" pitchFamily="34" charset="0"/>
              <a:buChar char="×"/>
              <a:tabLst/>
              <a:defRPr lang="en-US" sz="11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84163" indent="-165100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2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457200" indent="-173038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200" kern="12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Option 4</a:t>
            </a:r>
            <a:endParaRPr lang="en-US" dirty="0"/>
          </a:p>
        </p:txBody>
      </p:sp>
      <p:sp>
        <p:nvSpPr>
          <p:cNvPr id="79" name="Text Placeholder 45"/>
          <p:cNvSpPr>
            <a:spLocks noGrp="1"/>
          </p:cNvSpPr>
          <p:nvPr>
            <p:ph type="body" sz="quarter" idx="27" hasCustomPrompt="1"/>
          </p:nvPr>
        </p:nvSpPr>
        <p:spPr>
          <a:xfrm>
            <a:off x="2981326" y="3380601"/>
            <a:ext cx="479107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Pct val="150000"/>
              <a:buFont typeface="Open Sans" pitchFamily="34" charset="0"/>
              <a:buChar char="×"/>
              <a:tabLst/>
              <a:defRPr lang="en-US" sz="11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84163" indent="-165100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2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457200" indent="-173038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200" kern="12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Option 5</a:t>
            </a:r>
            <a:endParaRPr lang="en-US" dirty="0"/>
          </a:p>
        </p:txBody>
      </p:sp>
      <p:sp>
        <p:nvSpPr>
          <p:cNvPr id="85" name="Text Placeholder 45"/>
          <p:cNvSpPr>
            <a:spLocks noGrp="1"/>
          </p:cNvSpPr>
          <p:nvPr>
            <p:ph type="body" sz="quarter" idx="19" hasCustomPrompt="1"/>
          </p:nvPr>
        </p:nvSpPr>
        <p:spPr>
          <a:xfrm>
            <a:off x="6694392" y="5257800"/>
            <a:ext cx="1992408" cy="990600"/>
          </a:xfrm>
          <a:prstGeom prst="rect">
            <a:avLst/>
          </a:prstGeom>
          <a:solidFill>
            <a:srgbClr val="CB5555"/>
          </a:solidFill>
        </p:spPr>
        <p:txBody>
          <a:bodyPr/>
          <a:lstStyle>
            <a:lvl1pPr marL="119063" indent="-119063">
              <a:defRPr sz="1400">
                <a:solidFill>
                  <a:schemeClr val="bg1"/>
                </a:solidFill>
              </a:defRPr>
            </a:lvl1pPr>
            <a:lvl2pPr marL="284163" indent="-165100">
              <a:defRPr sz="1300">
                <a:solidFill>
                  <a:schemeClr val="bg1"/>
                </a:solidFill>
              </a:defRPr>
            </a:lvl2pPr>
            <a:lvl3pPr marL="457200" indent="-173038">
              <a:defRPr sz="1300"/>
            </a:lvl3pPr>
          </a:lstStyle>
          <a:p>
            <a:pPr lvl="0"/>
            <a:r>
              <a:rPr lang="en-US" dirty="0" smtClean="0"/>
              <a:t>Incorrect 2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86" name="Text Placeholder 45"/>
          <p:cNvSpPr>
            <a:spLocks noGrp="1"/>
          </p:cNvSpPr>
          <p:nvPr>
            <p:ph type="body" sz="quarter" idx="33" hasCustomPrompt="1"/>
          </p:nvPr>
        </p:nvSpPr>
        <p:spPr>
          <a:xfrm>
            <a:off x="4636992" y="5257800"/>
            <a:ext cx="1992408" cy="990600"/>
          </a:xfrm>
          <a:prstGeom prst="rect">
            <a:avLst/>
          </a:prstGeom>
          <a:solidFill>
            <a:srgbClr val="EFA95B"/>
          </a:solidFill>
        </p:spPr>
        <p:txBody>
          <a:bodyPr/>
          <a:lstStyle>
            <a:lvl1pPr marL="119063" indent="-119063">
              <a:defRPr sz="14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284163" indent="-165100">
              <a:defRPr sz="13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457200" indent="-173038">
              <a:defRPr sz="1300"/>
            </a:lvl3pPr>
          </a:lstStyle>
          <a:p>
            <a:pPr lvl="0"/>
            <a:r>
              <a:rPr lang="en-US" dirty="0" smtClean="0"/>
              <a:t>Incorrect 1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87" name="Text Placeholder 45"/>
          <p:cNvSpPr>
            <a:spLocks noGrp="1"/>
          </p:cNvSpPr>
          <p:nvPr>
            <p:ph type="body" sz="quarter" idx="34" hasCustomPrompt="1"/>
          </p:nvPr>
        </p:nvSpPr>
        <p:spPr>
          <a:xfrm>
            <a:off x="2579592" y="5257800"/>
            <a:ext cx="1992408" cy="990600"/>
          </a:xfrm>
          <a:prstGeom prst="rect">
            <a:avLst/>
          </a:prstGeom>
          <a:solidFill>
            <a:srgbClr val="D3E1C1"/>
          </a:solidFill>
        </p:spPr>
        <p:txBody>
          <a:bodyPr/>
          <a:lstStyle>
            <a:lvl1pPr marL="119063" indent="-119063"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284163" indent="-165100">
              <a:defRPr sz="13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457200" indent="-173038">
              <a:defRPr sz="1300"/>
            </a:lvl3pPr>
          </a:lstStyle>
          <a:p>
            <a:pPr lvl="0"/>
            <a:r>
              <a:rPr lang="en-US" dirty="0" smtClean="0"/>
              <a:t>Correct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95" name="Text Placeholder 94"/>
          <p:cNvSpPr>
            <a:spLocks noGrp="1"/>
          </p:cNvSpPr>
          <p:nvPr>
            <p:ph type="body" sz="quarter" idx="35" hasCustomPrompt="1"/>
          </p:nvPr>
        </p:nvSpPr>
        <p:spPr>
          <a:xfrm>
            <a:off x="2590800" y="4876800"/>
            <a:ext cx="6096000" cy="3048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eedback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1" name="Text Placeholder 50"/>
          <p:cNvSpPr>
            <a:spLocks noGrp="1"/>
          </p:cNvSpPr>
          <p:nvPr>
            <p:ph type="body" sz="quarter" idx="36" hasCustomPrompt="1"/>
          </p:nvPr>
        </p:nvSpPr>
        <p:spPr>
          <a:xfrm>
            <a:off x="2971800" y="3837801"/>
            <a:ext cx="1447800" cy="276999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wrap="square">
            <a:spAutoFit/>
          </a:bodyPr>
          <a:lstStyle>
            <a:lvl1pPr algn="ctr">
              <a:buNone/>
              <a:defRPr sz="1200" b="1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>
              <a:defRPr sz="1200" b="1"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>
              <a:defRPr sz="1200" b="1"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  <a:lvl4pPr>
              <a:defRPr sz="1200" b="1">
                <a:latin typeface="Open Sans" pitchFamily="34" charset="0"/>
                <a:ea typeface="Open Sans" pitchFamily="34" charset="0"/>
                <a:cs typeface="Open Sans" pitchFamily="34" charset="0"/>
              </a:defRPr>
            </a:lvl4pPr>
            <a:lvl5pPr>
              <a:defRPr sz="1200" b="1">
                <a:latin typeface="Open Sans" pitchFamily="34" charset="0"/>
                <a:ea typeface="Open Sans" pitchFamily="34" charset="0"/>
                <a:cs typeface="Open Sans" pitchFamily="34" charset="0"/>
              </a:defRPr>
            </a:lvl5pPr>
          </a:lstStyle>
          <a:p>
            <a:pPr lvl="0"/>
            <a:r>
              <a:rPr lang="en-US" dirty="0" smtClean="0"/>
              <a:t>Check Answer</a:t>
            </a:r>
            <a:endParaRPr lang="en-US" dirty="0"/>
          </a:p>
        </p:txBody>
      </p:sp>
      <p:grpSp>
        <p:nvGrpSpPr>
          <p:cNvPr id="2" name="Group 72"/>
          <p:cNvGrpSpPr/>
          <p:nvPr userDrawn="1"/>
        </p:nvGrpSpPr>
        <p:grpSpPr>
          <a:xfrm>
            <a:off x="140852" y="554828"/>
            <a:ext cx="8826701" cy="724418"/>
            <a:chOff x="140852" y="923636"/>
            <a:chExt cx="8826701" cy="724418"/>
          </a:xfrm>
        </p:grpSpPr>
        <p:grpSp>
          <p:nvGrpSpPr>
            <p:cNvPr id="3" name="Group 12"/>
            <p:cNvGrpSpPr/>
            <p:nvPr/>
          </p:nvGrpSpPr>
          <p:grpSpPr>
            <a:xfrm>
              <a:off x="2459187" y="1282395"/>
              <a:ext cx="6508366" cy="365659"/>
              <a:chOff x="-1" y="711412"/>
              <a:chExt cx="9153525" cy="514273"/>
            </a:xfrm>
          </p:grpSpPr>
          <p:sp>
            <p:nvSpPr>
              <p:cNvPr id="69" name="Flowchart: Process 68"/>
              <p:cNvSpPr/>
              <p:nvPr/>
            </p:nvSpPr>
            <p:spPr>
              <a:xfrm>
                <a:off x="-1" y="771525"/>
                <a:ext cx="9153525" cy="454160"/>
              </a:xfrm>
              <a:prstGeom prst="flowChartProcess">
                <a:avLst/>
              </a:prstGeom>
              <a:solidFill>
                <a:srgbClr val="585874"/>
              </a:solidFill>
              <a:ln>
                <a:noFill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algn="ctr" defTabSz="914400" rtl="0" eaLnBrk="1" latinLnBrk="0" hangingPunct="1"/>
                <a:endParaRPr lang="en-US" sz="2600" b="1" kern="1200" dirty="0">
                  <a:solidFill>
                    <a:schemeClr val="dk1"/>
                  </a:solidFill>
                  <a:latin typeface="Trebuchet MS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4" name="Group 19"/>
              <p:cNvGrpSpPr/>
              <p:nvPr/>
            </p:nvGrpSpPr>
            <p:grpSpPr>
              <a:xfrm>
                <a:off x="188844" y="890429"/>
                <a:ext cx="273844" cy="216511"/>
                <a:chOff x="377952" y="1463835"/>
                <a:chExt cx="273844" cy="216511"/>
              </a:xfrm>
            </p:grpSpPr>
            <p:sp>
              <p:nvSpPr>
                <p:cNvPr id="72" name="Rectangle 71"/>
                <p:cNvSpPr/>
                <p:nvPr/>
              </p:nvSpPr>
              <p:spPr>
                <a:xfrm>
                  <a:off x="377952" y="1463835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3" name="Rectangle 72"/>
                <p:cNvSpPr/>
                <p:nvPr/>
              </p:nvSpPr>
              <p:spPr>
                <a:xfrm>
                  <a:off x="377952" y="1549231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4" name="Rectangle 73"/>
                <p:cNvSpPr/>
                <p:nvPr/>
              </p:nvSpPr>
              <p:spPr>
                <a:xfrm>
                  <a:off x="377952" y="1634627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71" name="Freeform 70"/>
              <p:cNvSpPr/>
              <p:nvPr/>
            </p:nvSpPr>
            <p:spPr>
              <a:xfrm>
                <a:off x="534850" y="711412"/>
                <a:ext cx="461548" cy="226958"/>
              </a:xfrm>
              <a:custGeom>
                <a:avLst/>
                <a:gdLst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831715"/>
                  <a:gd name="connsiteY0" fmla="*/ 0 h 330741"/>
                  <a:gd name="connsiteX1" fmla="*/ 398834 w 831715"/>
                  <a:gd name="connsiteY1" fmla="*/ 330741 h 330741"/>
                  <a:gd name="connsiteX2" fmla="*/ 831715 w 831715"/>
                  <a:gd name="connsiteY2" fmla="*/ 4864 h 330741"/>
                  <a:gd name="connsiteX3" fmla="*/ 0 w 831715"/>
                  <a:gd name="connsiteY3" fmla="*/ 0 h 330741"/>
                  <a:gd name="connsiteX0" fmla="*/ 0 w 831715"/>
                  <a:gd name="connsiteY0" fmla="*/ 1469 h 332210"/>
                  <a:gd name="connsiteX1" fmla="*/ 398834 w 831715"/>
                  <a:gd name="connsiteY1" fmla="*/ 332210 h 332210"/>
                  <a:gd name="connsiteX2" fmla="*/ 831715 w 831715"/>
                  <a:gd name="connsiteY2" fmla="*/ 6333 h 332210"/>
                  <a:gd name="connsiteX3" fmla="*/ 0 w 831715"/>
                  <a:gd name="connsiteY3" fmla="*/ 1469 h 332210"/>
                  <a:gd name="connsiteX0" fmla="*/ 0 w 831715"/>
                  <a:gd name="connsiteY0" fmla="*/ 1469 h 332210"/>
                  <a:gd name="connsiteX1" fmla="*/ 411830 w 831715"/>
                  <a:gd name="connsiteY1" fmla="*/ 332210 h 332210"/>
                  <a:gd name="connsiteX2" fmla="*/ 831715 w 831715"/>
                  <a:gd name="connsiteY2" fmla="*/ 6333 h 332210"/>
                  <a:gd name="connsiteX3" fmla="*/ 0 w 831715"/>
                  <a:gd name="connsiteY3" fmla="*/ 1469 h 332210"/>
                  <a:gd name="connsiteX0" fmla="*/ 0 w 831715"/>
                  <a:gd name="connsiteY0" fmla="*/ 144420 h 475161"/>
                  <a:gd name="connsiteX1" fmla="*/ 411830 w 831715"/>
                  <a:gd name="connsiteY1" fmla="*/ 475161 h 475161"/>
                  <a:gd name="connsiteX2" fmla="*/ 831715 w 831715"/>
                  <a:gd name="connsiteY2" fmla="*/ 149284 h 475161"/>
                  <a:gd name="connsiteX3" fmla="*/ 667106 w 831715"/>
                  <a:gd name="connsiteY3" fmla="*/ 0 h 475161"/>
                  <a:gd name="connsiteX4" fmla="*/ 0 w 831715"/>
                  <a:gd name="connsiteY4" fmla="*/ 144420 h 475161"/>
                  <a:gd name="connsiteX0" fmla="*/ 0 w 831715"/>
                  <a:gd name="connsiteY0" fmla="*/ 144420 h 475161"/>
                  <a:gd name="connsiteX1" fmla="*/ 411830 w 831715"/>
                  <a:gd name="connsiteY1" fmla="*/ 475161 h 475161"/>
                  <a:gd name="connsiteX2" fmla="*/ 831715 w 831715"/>
                  <a:gd name="connsiteY2" fmla="*/ 149284 h 475161"/>
                  <a:gd name="connsiteX3" fmla="*/ 667106 w 831715"/>
                  <a:gd name="connsiteY3" fmla="*/ 0 h 475161"/>
                  <a:gd name="connsiteX4" fmla="*/ 4331 w 831715"/>
                  <a:gd name="connsiteY4" fmla="*/ 8665 h 475161"/>
                  <a:gd name="connsiteX5" fmla="*/ 0 w 831715"/>
                  <a:gd name="connsiteY5" fmla="*/ 144420 h 475161"/>
                  <a:gd name="connsiteX0" fmla="*/ 0 w 831715"/>
                  <a:gd name="connsiteY0" fmla="*/ 140087 h 470828"/>
                  <a:gd name="connsiteX1" fmla="*/ 411830 w 831715"/>
                  <a:gd name="connsiteY1" fmla="*/ 470828 h 470828"/>
                  <a:gd name="connsiteX2" fmla="*/ 831715 w 831715"/>
                  <a:gd name="connsiteY2" fmla="*/ 144951 h 470828"/>
                  <a:gd name="connsiteX3" fmla="*/ 831715 w 831715"/>
                  <a:gd name="connsiteY3" fmla="*/ 0 h 470828"/>
                  <a:gd name="connsiteX4" fmla="*/ 4331 w 831715"/>
                  <a:gd name="connsiteY4" fmla="*/ 4332 h 470828"/>
                  <a:gd name="connsiteX5" fmla="*/ 0 w 831715"/>
                  <a:gd name="connsiteY5" fmla="*/ 140087 h 470828"/>
                  <a:gd name="connsiteX0" fmla="*/ 0 w 831715"/>
                  <a:gd name="connsiteY0" fmla="*/ 135755 h 466496"/>
                  <a:gd name="connsiteX1" fmla="*/ 411830 w 831715"/>
                  <a:gd name="connsiteY1" fmla="*/ 466496 h 466496"/>
                  <a:gd name="connsiteX2" fmla="*/ 831715 w 831715"/>
                  <a:gd name="connsiteY2" fmla="*/ 140619 h 466496"/>
                  <a:gd name="connsiteX3" fmla="*/ 728459 w 831715"/>
                  <a:gd name="connsiteY3" fmla="*/ 55708 h 466496"/>
                  <a:gd name="connsiteX4" fmla="*/ 4331 w 831715"/>
                  <a:gd name="connsiteY4" fmla="*/ 0 h 466496"/>
                  <a:gd name="connsiteX5" fmla="*/ 0 w 831715"/>
                  <a:gd name="connsiteY5" fmla="*/ 135755 h 466496"/>
                  <a:gd name="connsiteX0" fmla="*/ 0 w 831715"/>
                  <a:gd name="connsiteY0" fmla="*/ 82129 h 412870"/>
                  <a:gd name="connsiteX1" fmla="*/ 411830 w 831715"/>
                  <a:gd name="connsiteY1" fmla="*/ 412870 h 412870"/>
                  <a:gd name="connsiteX2" fmla="*/ 831715 w 831715"/>
                  <a:gd name="connsiteY2" fmla="*/ 86993 h 412870"/>
                  <a:gd name="connsiteX3" fmla="*/ 728459 w 831715"/>
                  <a:gd name="connsiteY3" fmla="*/ 2082 h 412870"/>
                  <a:gd name="connsiteX4" fmla="*/ 4332 w 831715"/>
                  <a:gd name="connsiteY4" fmla="*/ 0 h 412870"/>
                  <a:gd name="connsiteX5" fmla="*/ 0 w 831715"/>
                  <a:gd name="connsiteY5" fmla="*/ 82129 h 412870"/>
                  <a:gd name="connsiteX0" fmla="*/ 0 w 839623"/>
                  <a:gd name="connsiteY0" fmla="*/ 82129 h 412870"/>
                  <a:gd name="connsiteX1" fmla="*/ 411830 w 839623"/>
                  <a:gd name="connsiteY1" fmla="*/ 412870 h 412870"/>
                  <a:gd name="connsiteX2" fmla="*/ 831715 w 839623"/>
                  <a:gd name="connsiteY2" fmla="*/ 86993 h 412870"/>
                  <a:gd name="connsiteX3" fmla="*/ 839623 w 839623"/>
                  <a:gd name="connsiteY3" fmla="*/ 2083 h 412870"/>
                  <a:gd name="connsiteX4" fmla="*/ 4332 w 839623"/>
                  <a:gd name="connsiteY4" fmla="*/ 0 h 412870"/>
                  <a:gd name="connsiteX5" fmla="*/ 0 w 839623"/>
                  <a:gd name="connsiteY5" fmla="*/ 82129 h 412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39623" h="412870">
                    <a:moveTo>
                      <a:pt x="0" y="82129"/>
                    </a:moveTo>
                    <a:cubicBezTo>
                      <a:pt x="145105" y="80660"/>
                      <a:pt x="310905" y="152503"/>
                      <a:pt x="411830" y="412870"/>
                    </a:cubicBezTo>
                    <a:cubicBezTo>
                      <a:pt x="496288" y="146322"/>
                      <a:pt x="642482" y="86841"/>
                      <a:pt x="831715" y="86993"/>
                    </a:cubicBezTo>
                    <a:lnTo>
                      <a:pt x="839623" y="2083"/>
                    </a:lnTo>
                    <a:lnTo>
                      <a:pt x="4332" y="0"/>
                    </a:lnTo>
                    <a:lnTo>
                      <a:pt x="0" y="8212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5" name="Group 34"/>
            <p:cNvGrpSpPr/>
            <p:nvPr userDrawn="1"/>
          </p:nvGrpSpPr>
          <p:grpSpPr>
            <a:xfrm>
              <a:off x="140852" y="923636"/>
              <a:ext cx="2187677" cy="322918"/>
              <a:chOff x="-2" y="771525"/>
              <a:chExt cx="3076802" cy="454160"/>
            </a:xfrm>
          </p:grpSpPr>
          <p:sp>
            <p:nvSpPr>
              <p:cNvPr id="60" name="Flowchart: Process 59"/>
              <p:cNvSpPr/>
              <p:nvPr/>
            </p:nvSpPr>
            <p:spPr>
              <a:xfrm>
                <a:off x="-2" y="771525"/>
                <a:ext cx="3076802" cy="454160"/>
              </a:xfrm>
              <a:prstGeom prst="flowChartProcess">
                <a:avLst/>
              </a:prstGeom>
              <a:solidFill>
                <a:srgbClr val="585874"/>
              </a:solidFill>
              <a:ln>
                <a:noFill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2600" b="1" dirty="0">
                  <a:solidFill>
                    <a:schemeClr val="dk1"/>
                  </a:solidFill>
                  <a:latin typeface="Trebuchet MS" pitchFamily="34" charset="0"/>
                </a:endParaRPr>
              </a:p>
            </p:txBody>
          </p:sp>
          <p:grpSp>
            <p:nvGrpSpPr>
              <p:cNvPr id="6" name="Group 36"/>
              <p:cNvGrpSpPr/>
              <p:nvPr/>
            </p:nvGrpSpPr>
            <p:grpSpPr>
              <a:xfrm>
                <a:off x="188844" y="890429"/>
                <a:ext cx="273844" cy="216511"/>
                <a:chOff x="377952" y="1463835"/>
                <a:chExt cx="273844" cy="216511"/>
              </a:xfrm>
            </p:grpSpPr>
            <p:sp>
              <p:nvSpPr>
                <p:cNvPr id="63" name="Rectangle 62"/>
                <p:cNvSpPr/>
                <p:nvPr/>
              </p:nvSpPr>
              <p:spPr>
                <a:xfrm>
                  <a:off x="377952" y="1463835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6" name="Rectangle 65"/>
                <p:cNvSpPr/>
                <p:nvPr/>
              </p:nvSpPr>
              <p:spPr>
                <a:xfrm>
                  <a:off x="377952" y="1549231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7" name="Rectangle 66"/>
                <p:cNvSpPr/>
                <p:nvPr/>
              </p:nvSpPr>
              <p:spPr>
                <a:xfrm>
                  <a:off x="377952" y="1634627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sp>
        <p:nvSpPr>
          <p:cNvPr id="39" name="Text Placeholder 39"/>
          <p:cNvSpPr>
            <a:spLocks noGrp="1"/>
          </p:cNvSpPr>
          <p:nvPr>
            <p:ph type="body" sz="quarter" idx="38" hasCustomPrompt="1"/>
          </p:nvPr>
        </p:nvSpPr>
        <p:spPr>
          <a:xfrm>
            <a:off x="2819400" y="1676401"/>
            <a:ext cx="5791200" cy="27622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Open Sans" pitchFamily="34" charset="0"/>
                <a:ea typeface="Open Sans" pitchFamily="34" charset="0"/>
                <a:cs typeface="Open Sans" pitchFamily="34" charset="0"/>
              </a:rPr>
              <a:t>Add Question?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40" name="Text Placeholder 39"/>
          <p:cNvSpPr>
            <a:spLocks noGrp="1"/>
          </p:cNvSpPr>
          <p:nvPr>
            <p:ph type="body" sz="quarter" idx="39" hasCustomPrompt="1"/>
          </p:nvPr>
        </p:nvSpPr>
        <p:spPr>
          <a:xfrm>
            <a:off x="2819400" y="1924050"/>
            <a:ext cx="5791200" cy="27622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Open Sans" pitchFamily="34" charset="0"/>
                <a:ea typeface="Open Sans" pitchFamily="34" charset="0"/>
                <a:cs typeface="Open Sans" pitchFamily="34" charset="0"/>
              </a:rPr>
              <a:t>Instruction text</a:t>
            </a:r>
            <a:endParaRPr kumimoji="0" lang="en-US" sz="1100" b="0" i="1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41" name="Content Placeholder 49"/>
          <p:cNvSpPr>
            <a:spLocks noGrp="1"/>
          </p:cNvSpPr>
          <p:nvPr>
            <p:ph sz="quarter" idx="42" hasCustomPrompt="1"/>
          </p:nvPr>
        </p:nvSpPr>
        <p:spPr>
          <a:xfrm>
            <a:off x="301752" y="1237488"/>
            <a:ext cx="1892808" cy="262128"/>
          </a:xfrm>
          <a:prstGeom prst="rect">
            <a:avLst/>
          </a:prstGeom>
        </p:spPr>
        <p:txBody>
          <a:bodyPr/>
          <a:lstStyle>
            <a:lvl1pPr marL="1905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lvl1pPr>
          </a:lstStyle>
          <a:p>
            <a:pPr lvl="0"/>
            <a:r>
              <a:rPr lang="en-US" dirty="0" smtClean="0"/>
              <a:t>Add Question?</a:t>
            </a:r>
          </a:p>
        </p:txBody>
      </p:sp>
      <p:sp>
        <p:nvSpPr>
          <p:cNvPr id="42" name="Content Placeholder 49"/>
          <p:cNvSpPr>
            <a:spLocks noGrp="1"/>
          </p:cNvSpPr>
          <p:nvPr>
            <p:ph sz="quarter" idx="43" hasCustomPrompt="1"/>
          </p:nvPr>
        </p:nvSpPr>
        <p:spPr>
          <a:xfrm>
            <a:off x="301752" y="1536192"/>
            <a:ext cx="1892808" cy="26212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100" i="1"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 smtClean="0"/>
              <a:t>Instruction text</a:t>
            </a:r>
          </a:p>
        </p:txBody>
      </p:sp>
      <p:sp>
        <p:nvSpPr>
          <p:cNvPr id="43" name="Text Placeholder 45"/>
          <p:cNvSpPr>
            <a:spLocks noGrp="1"/>
          </p:cNvSpPr>
          <p:nvPr>
            <p:ph type="body" sz="quarter" idx="28" hasCustomPrompt="1"/>
          </p:nvPr>
        </p:nvSpPr>
        <p:spPr>
          <a:xfrm>
            <a:off x="375541" y="1905000"/>
            <a:ext cx="171043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9900"/>
              </a:buClr>
              <a:buSzPct val="120000"/>
              <a:buFont typeface="Wingdings" pitchFamily="2" charset="2"/>
              <a:buChar char="ü"/>
              <a:tabLst/>
              <a:defRPr lang="en-US" sz="10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84163" indent="-165100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2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457200" indent="-173038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200" kern="12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Option 1</a:t>
            </a:r>
            <a:endParaRPr lang="en-US" dirty="0"/>
          </a:p>
        </p:txBody>
      </p:sp>
      <p:sp>
        <p:nvSpPr>
          <p:cNvPr id="44" name="Text Placeholder 45"/>
          <p:cNvSpPr>
            <a:spLocks noGrp="1"/>
          </p:cNvSpPr>
          <p:nvPr>
            <p:ph type="body" sz="quarter" idx="29" hasCustomPrompt="1"/>
          </p:nvPr>
        </p:nvSpPr>
        <p:spPr>
          <a:xfrm>
            <a:off x="375541" y="2190750"/>
            <a:ext cx="171043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Pct val="150000"/>
              <a:buFont typeface="Open Sans" pitchFamily="34" charset="0"/>
              <a:buChar char="×"/>
              <a:tabLst/>
              <a:defRPr lang="en-US" sz="10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84163" indent="-165100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2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457200" indent="-173038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200" kern="12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Option 2</a:t>
            </a:r>
            <a:endParaRPr lang="en-US" dirty="0"/>
          </a:p>
        </p:txBody>
      </p:sp>
      <p:sp>
        <p:nvSpPr>
          <p:cNvPr id="45" name="Text Placeholder 45"/>
          <p:cNvSpPr>
            <a:spLocks noGrp="1"/>
          </p:cNvSpPr>
          <p:nvPr>
            <p:ph type="body" sz="quarter" idx="30" hasCustomPrompt="1"/>
          </p:nvPr>
        </p:nvSpPr>
        <p:spPr>
          <a:xfrm>
            <a:off x="371476" y="2472065"/>
            <a:ext cx="171043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Pct val="150000"/>
              <a:buFont typeface="Open Sans" pitchFamily="34" charset="0"/>
              <a:buChar char="×"/>
              <a:tabLst/>
              <a:defRPr lang="en-US" sz="1000" kern="12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84163" indent="-165100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2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457200" indent="-173038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200" kern="12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9900"/>
              </a:buClr>
              <a:buSzPct val="120000"/>
              <a:buFont typeface="Wingdings" pitchFamily="2" charset="2"/>
              <a:buChar char="ü"/>
              <a:tabLst/>
            </a:pPr>
            <a:r>
              <a:rPr lang="en-US" dirty="0" smtClean="0"/>
              <a:t>Option 3</a:t>
            </a:r>
            <a:endParaRPr lang="en-US" dirty="0"/>
          </a:p>
        </p:txBody>
      </p:sp>
      <p:sp>
        <p:nvSpPr>
          <p:cNvPr id="50" name="Text Placeholder 45"/>
          <p:cNvSpPr>
            <a:spLocks noGrp="1"/>
          </p:cNvSpPr>
          <p:nvPr>
            <p:ph type="body" sz="quarter" idx="31" hasCustomPrompt="1"/>
          </p:nvPr>
        </p:nvSpPr>
        <p:spPr>
          <a:xfrm>
            <a:off x="375541" y="2762250"/>
            <a:ext cx="171043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Pct val="150000"/>
              <a:buFont typeface="Open Sans" pitchFamily="34" charset="0"/>
              <a:buChar char="×"/>
              <a:tabLst/>
              <a:defRPr lang="en-US" sz="10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84163" indent="-165100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2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457200" indent="-173038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200" kern="12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Option 4</a:t>
            </a:r>
            <a:endParaRPr lang="en-US" dirty="0"/>
          </a:p>
        </p:txBody>
      </p:sp>
      <p:sp>
        <p:nvSpPr>
          <p:cNvPr id="55" name="Text Placeholder 45"/>
          <p:cNvSpPr>
            <a:spLocks noGrp="1"/>
          </p:cNvSpPr>
          <p:nvPr>
            <p:ph type="body" sz="quarter" idx="32" hasCustomPrompt="1"/>
          </p:nvPr>
        </p:nvSpPr>
        <p:spPr>
          <a:xfrm>
            <a:off x="375541" y="3048000"/>
            <a:ext cx="171043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Pct val="150000"/>
              <a:buFont typeface="Open Sans" pitchFamily="34" charset="0"/>
              <a:buChar char="×"/>
              <a:tabLst/>
              <a:defRPr lang="en-US" sz="10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84163" indent="-165100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2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457200" indent="-173038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200" kern="12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Option 5</a:t>
            </a:r>
            <a:endParaRPr lang="en-US" dirty="0"/>
          </a:p>
        </p:txBody>
      </p:sp>
      <p:sp>
        <p:nvSpPr>
          <p:cNvPr id="57" name="Text Placeholder 50"/>
          <p:cNvSpPr>
            <a:spLocks noGrp="1"/>
          </p:cNvSpPr>
          <p:nvPr>
            <p:ph type="body" sz="quarter" idx="37" hasCustomPrompt="1"/>
          </p:nvPr>
        </p:nvSpPr>
        <p:spPr>
          <a:xfrm>
            <a:off x="514350" y="3456801"/>
            <a:ext cx="1447800" cy="276999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wrap="square">
            <a:spAutoFit/>
          </a:bodyPr>
          <a:lstStyle>
            <a:lvl1pPr algn="ctr">
              <a:buNone/>
              <a:defRPr sz="1200" b="1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>
              <a:defRPr sz="1200" b="1"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>
              <a:defRPr sz="1200" b="1"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  <a:lvl4pPr>
              <a:defRPr sz="1200" b="1">
                <a:latin typeface="Open Sans" pitchFamily="34" charset="0"/>
                <a:ea typeface="Open Sans" pitchFamily="34" charset="0"/>
                <a:cs typeface="Open Sans" pitchFamily="34" charset="0"/>
              </a:defRPr>
            </a:lvl4pPr>
            <a:lvl5pPr>
              <a:defRPr sz="1200" b="1">
                <a:latin typeface="Open Sans" pitchFamily="34" charset="0"/>
                <a:ea typeface="Open Sans" pitchFamily="34" charset="0"/>
                <a:cs typeface="Open Sans" pitchFamily="34" charset="0"/>
              </a:defRPr>
            </a:lvl5pPr>
          </a:lstStyle>
          <a:p>
            <a:pPr lvl="0"/>
            <a:r>
              <a:rPr lang="en-US" dirty="0" smtClean="0"/>
              <a:t>Check Answer</a:t>
            </a:r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10" descr="A&amp;IS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 bwMode="auto">
          <a:xfrm>
            <a:off x="0" y="762001"/>
            <a:ext cx="9144000" cy="609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"/>
          <p:cNvPicPr>
            <a:picLocks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147050" y="138113"/>
            <a:ext cx="725488" cy="712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Freeform 8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0" y="576263"/>
            <a:ext cx="9151938" cy="752475"/>
          </a:xfrm>
          <a:custGeom>
            <a:avLst/>
            <a:gdLst>
              <a:gd name="connsiteX0" fmla="*/ 9509 w 10000"/>
              <a:gd name="connsiteY0" fmla="*/ 4537 h 10000"/>
              <a:gd name="connsiteX1" fmla="*/ 972 w 10000"/>
              <a:gd name="connsiteY1" fmla="*/ 4537 h 10000"/>
              <a:gd name="connsiteX2" fmla="*/ 484 w 10000"/>
              <a:gd name="connsiteY2" fmla="*/ 9122 h 10000"/>
              <a:gd name="connsiteX3" fmla="*/ 0 w 10000"/>
              <a:gd name="connsiteY3" fmla="*/ 4537 h 10000"/>
              <a:gd name="connsiteX4" fmla="*/ 0 w 10000"/>
              <a:gd name="connsiteY4" fmla="*/ 5463 h 10000"/>
              <a:gd name="connsiteX5" fmla="*/ 484 w 10000"/>
              <a:gd name="connsiteY5" fmla="*/ 10000 h 10000"/>
              <a:gd name="connsiteX6" fmla="*/ 972 w 10000"/>
              <a:gd name="connsiteY6" fmla="*/ 5463 h 10000"/>
              <a:gd name="connsiteX7" fmla="*/ 8912 w 10000"/>
              <a:gd name="connsiteY7" fmla="*/ 5514 h 10000"/>
              <a:gd name="connsiteX8" fmla="*/ 10000 w 10000"/>
              <a:gd name="connsiteY8" fmla="*/ 927 h 10000"/>
              <a:gd name="connsiteX9" fmla="*/ 10000 w 10000"/>
              <a:gd name="connsiteY9" fmla="*/ 0 h 10000"/>
              <a:gd name="connsiteX10" fmla="*/ 9509 w 10000"/>
              <a:gd name="connsiteY10" fmla="*/ 4537 h 10000"/>
              <a:gd name="connsiteX0" fmla="*/ 8912 w 10000"/>
              <a:gd name="connsiteY0" fmla="*/ 4577 h 10000"/>
              <a:gd name="connsiteX1" fmla="*/ 972 w 10000"/>
              <a:gd name="connsiteY1" fmla="*/ 4537 h 10000"/>
              <a:gd name="connsiteX2" fmla="*/ 484 w 10000"/>
              <a:gd name="connsiteY2" fmla="*/ 9122 h 10000"/>
              <a:gd name="connsiteX3" fmla="*/ 0 w 10000"/>
              <a:gd name="connsiteY3" fmla="*/ 4537 h 10000"/>
              <a:gd name="connsiteX4" fmla="*/ 0 w 10000"/>
              <a:gd name="connsiteY4" fmla="*/ 5463 h 10000"/>
              <a:gd name="connsiteX5" fmla="*/ 484 w 10000"/>
              <a:gd name="connsiteY5" fmla="*/ 10000 h 10000"/>
              <a:gd name="connsiteX6" fmla="*/ 972 w 10000"/>
              <a:gd name="connsiteY6" fmla="*/ 5463 h 10000"/>
              <a:gd name="connsiteX7" fmla="*/ 8912 w 10000"/>
              <a:gd name="connsiteY7" fmla="*/ 5514 h 10000"/>
              <a:gd name="connsiteX8" fmla="*/ 10000 w 10000"/>
              <a:gd name="connsiteY8" fmla="*/ 927 h 10000"/>
              <a:gd name="connsiteX9" fmla="*/ 10000 w 10000"/>
              <a:gd name="connsiteY9" fmla="*/ 0 h 10000"/>
              <a:gd name="connsiteX10" fmla="*/ 8912 w 10000"/>
              <a:gd name="connsiteY10" fmla="*/ 4577 h 10000"/>
              <a:gd name="connsiteX0" fmla="*/ 8912 w 10000"/>
              <a:gd name="connsiteY0" fmla="*/ 4383 h 9806"/>
              <a:gd name="connsiteX1" fmla="*/ 972 w 10000"/>
              <a:gd name="connsiteY1" fmla="*/ 4343 h 9806"/>
              <a:gd name="connsiteX2" fmla="*/ 484 w 10000"/>
              <a:gd name="connsiteY2" fmla="*/ 8928 h 9806"/>
              <a:gd name="connsiteX3" fmla="*/ 0 w 10000"/>
              <a:gd name="connsiteY3" fmla="*/ 4343 h 9806"/>
              <a:gd name="connsiteX4" fmla="*/ 0 w 10000"/>
              <a:gd name="connsiteY4" fmla="*/ 5269 h 9806"/>
              <a:gd name="connsiteX5" fmla="*/ 484 w 10000"/>
              <a:gd name="connsiteY5" fmla="*/ 9806 h 9806"/>
              <a:gd name="connsiteX6" fmla="*/ 972 w 10000"/>
              <a:gd name="connsiteY6" fmla="*/ 5269 h 9806"/>
              <a:gd name="connsiteX7" fmla="*/ 8912 w 10000"/>
              <a:gd name="connsiteY7" fmla="*/ 5320 h 9806"/>
              <a:gd name="connsiteX8" fmla="*/ 10000 w 10000"/>
              <a:gd name="connsiteY8" fmla="*/ 733 h 9806"/>
              <a:gd name="connsiteX9" fmla="*/ 9231 w 10000"/>
              <a:gd name="connsiteY9" fmla="*/ 0 h 9806"/>
              <a:gd name="connsiteX10" fmla="*/ 8912 w 10000"/>
              <a:gd name="connsiteY10" fmla="*/ 4383 h 9806"/>
              <a:gd name="connsiteX0" fmla="*/ 8912 w 9297"/>
              <a:gd name="connsiteY0" fmla="*/ 4470 h 10000"/>
              <a:gd name="connsiteX1" fmla="*/ 972 w 9297"/>
              <a:gd name="connsiteY1" fmla="*/ 4429 h 10000"/>
              <a:gd name="connsiteX2" fmla="*/ 484 w 9297"/>
              <a:gd name="connsiteY2" fmla="*/ 9105 h 10000"/>
              <a:gd name="connsiteX3" fmla="*/ 0 w 9297"/>
              <a:gd name="connsiteY3" fmla="*/ 4429 h 10000"/>
              <a:gd name="connsiteX4" fmla="*/ 0 w 9297"/>
              <a:gd name="connsiteY4" fmla="*/ 5373 h 10000"/>
              <a:gd name="connsiteX5" fmla="*/ 484 w 9297"/>
              <a:gd name="connsiteY5" fmla="*/ 10000 h 10000"/>
              <a:gd name="connsiteX6" fmla="*/ 972 w 9297"/>
              <a:gd name="connsiteY6" fmla="*/ 5373 h 10000"/>
              <a:gd name="connsiteX7" fmla="*/ 8912 w 9297"/>
              <a:gd name="connsiteY7" fmla="*/ 5425 h 10000"/>
              <a:gd name="connsiteX8" fmla="*/ 9231 w 9297"/>
              <a:gd name="connsiteY8" fmla="*/ 1642 h 10000"/>
              <a:gd name="connsiteX9" fmla="*/ 9231 w 9297"/>
              <a:gd name="connsiteY9" fmla="*/ 0 h 10000"/>
              <a:gd name="connsiteX10" fmla="*/ 8912 w 9297"/>
              <a:gd name="connsiteY10" fmla="*/ 4470 h 10000"/>
              <a:gd name="connsiteX0" fmla="*/ 9586 w 10000"/>
              <a:gd name="connsiteY0" fmla="*/ 4470 h 10000"/>
              <a:gd name="connsiteX1" fmla="*/ 1045 w 10000"/>
              <a:gd name="connsiteY1" fmla="*/ 4429 h 10000"/>
              <a:gd name="connsiteX2" fmla="*/ 521 w 10000"/>
              <a:gd name="connsiteY2" fmla="*/ 9105 h 10000"/>
              <a:gd name="connsiteX3" fmla="*/ 0 w 10000"/>
              <a:gd name="connsiteY3" fmla="*/ 4429 h 10000"/>
              <a:gd name="connsiteX4" fmla="*/ 0 w 10000"/>
              <a:gd name="connsiteY4" fmla="*/ 5373 h 10000"/>
              <a:gd name="connsiteX5" fmla="*/ 521 w 10000"/>
              <a:gd name="connsiteY5" fmla="*/ 10000 h 10000"/>
              <a:gd name="connsiteX6" fmla="*/ 1045 w 10000"/>
              <a:gd name="connsiteY6" fmla="*/ 5373 h 10000"/>
              <a:gd name="connsiteX7" fmla="*/ 9281 w 10000"/>
              <a:gd name="connsiteY7" fmla="*/ 5426 h 10000"/>
              <a:gd name="connsiteX8" fmla="*/ 9929 w 10000"/>
              <a:gd name="connsiteY8" fmla="*/ 1642 h 10000"/>
              <a:gd name="connsiteX9" fmla="*/ 9929 w 10000"/>
              <a:gd name="connsiteY9" fmla="*/ 0 h 10000"/>
              <a:gd name="connsiteX10" fmla="*/ 9586 w 10000"/>
              <a:gd name="connsiteY10" fmla="*/ 4470 h 10000"/>
              <a:gd name="connsiteX0" fmla="*/ 9586 w 10000"/>
              <a:gd name="connsiteY0" fmla="*/ 4470 h 10000"/>
              <a:gd name="connsiteX1" fmla="*/ 1045 w 10000"/>
              <a:gd name="connsiteY1" fmla="*/ 4429 h 10000"/>
              <a:gd name="connsiteX2" fmla="*/ 521 w 10000"/>
              <a:gd name="connsiteY2" fmla="*/ 9105 h 10000"/>
              <a:gd name="connsiteX3" fmla="*/ 0 w 10000"/>
              <a:gd name="connsiteY3" fmla="*/ 4429 h 10000"/>
              <a:gd name="connsiteX4" fmla="*/ 0 w 10000"/>
              <a:gd name="connsiteY4" fmla="*/ 5373 h 10000"/>
              <a:gd name="connsiteX5" fmla="*/ 521 w 10000"/>
              <a:gd name="connsiteY5" fmla="*/ 10000 h 10000"/>
              <a:gd name="connsiteX6" fmla="*/ 1045 w 10000"/>
              <a:gd name="connsiteY6" fmla="*/ 5373 h 10000"/>
              <a:gd name="connsiteX7" fmla="*/ 9281 w 10000"/>
              <a:gd name="connsiteY7" fmla="*/ 5426 h 10000"/>
              <a:gd name="connsiteX8" fmla="*/ 9929 w 10000"/>
              <a:gd name="connsiteY8" fmla="*/ 1642 h 10000"/>
              <a:gd name="connsiteX9" fmla="*/ 9929 w 10000"/>
              <a:gd name="connsiteY9" fmla="*/ 0 h 10000"/>
              <a:gd name="connsiteX10" fmla="*/ 9586 w 10000"/>
              <a:gd name="connsiteY10" fmla="*/ 4470 h 10000"/>
              <a:gd name="connsiteX0" fmla="*/ 9586 w 10000"/>
              <a:gd name="connsiteY0" fmla="*/ 4470 h 10000"/>
              <a:gd name="connsiteX1" fmla="*/ 1045 w 10000"/>
              <a:gd name="connsiteY1" fmla="*/ 4429 h 10000"/>
              <a:gd name="connsiteX2" fmla="*/ 521 w 10000"/>
              <a:gd name="connsiteY2" fmla="*/ 9105 h 10000"/>
              <a:gd name="connsiteX3" fmla="*/ 0 w 10000"/>
              <a:gd name="connsiteY3" fmla="*/ 4429 h 10000"/>
              <a:gd name="connsiteX4" fmla="*/ 0 w 10000"/>
              <a:gd name="connsiteY4" fmla="*/ 5373 h 10000"/>
              <a:gd name="connsiteX5" fmla="*/ 521 w 10000"/>
              <a:gd name="connsiteY5" fmla="*/ 10000 h 10000"/>
              <a:gd name="connsiteX6" fmla="*/ 1045 w 10000"/>
              <a:gd name="connsiteY6" fmla="*/ 5373 h 10000"/>
              <a:gd name="connsiteX7" fmla="*/ 9281 w 10000"/>
              <a:gd name="connsiteY7" fmla="*/ 5426 h 10000"/>
              <a:gd name="connsiteX8" fmla="*/ 9929 w 10000"/>
              <a:gd name="connsiteY8" fmla="*/ 1642 h 10000"/>
              <a:gd name="connsiteX9" fmla="*/ 9929 w 10000"/>
              <a:gd name="connsiteY9" fmla="*/ 0 h 10000"/>
              <a:gd name="connsiteX10" fmla="*/ 9586 w 10000"/>
              <a:gd name="connsiteY10" fmla="*/ 4470 h 10000"/>
              <a:gd name="connsiteX0" fmla="*/ 9281 w 9929"/>
              <a:gd name="connsiteY0" fmla="*/ 4558 h 10000"/>
              <a:gd name="connsiteX1" fmla="*/ 1045 w 9929"/>
              <a:gd name="connsiteY1" fmla="*/ 4429 h 10000"/>
              <a:gd name="connsiteX2" fmla="*/ 521 w 9929"/>
              <a:gd name="connsiteY2" fmla="*/ 9105 h 10000"/>
              <a:gd name="connsiteX3" fmla="*/ 0 w 9929"/>
              <a:gd name="connsiteY3" fmla="*/ 4429 h 10000"/>
              <a:gd name="connsiteX4" fmla="*/ 0 w 9929"/>
              <a:gd name="connsiteY4" fmla="*/ 5373 h 10000"/>
              <a:gd name="connsiteX5" fmla="*/ 521 w 9929"/>
              <a:gd name="connsiteY5" fmla="*/ 10000 h 10000"/>
              <a:gd name="connsiteX6" fmla="*/ 1045 w 9929"/>
              <a:gd name="connsiteY6" fmla="*/ 5373 h 10000"/>
              <a:gd name="connsiteX7" fmla="*/ 9281 w 9929"/>
              <a:gd name="connsiteY7" fmla="*/ 5426 h 10000"/>
              <a:gd name="connsiteX8" fmla="*/ 9929 w 9929"/>
              <a:gd name="connsiteY8" fmla="*/ 1642 h 10000"/>
              <a:gd name="connsiteX9" fmla="*/ 9929 w 9929"/>
              <a:gd name="connsiteY9" fmla="*/ 0 h 10000"/>
              <a:gd name="connsiteX10" fmla="*/ 9281 w 9929"/>
              <a:gd name="connsiteY10" fmla="*/ 4558 h 10000"/>
              <a:gd name="connsiteX0" fmla="*/ 9347 w 10000"/>
              <a:gd name="connsiteY0" fmla="*/ 4558 h 10000"/>
              <a:gd name="connsiteX1" fmla="*/ 1052 w 10000"/>
              <a:gd name="connsiteY1" fmla="*/ 4429 h 10000"/>
              <a:gd name="connsiteX2" fmla="*/ 525 w 10000"/>
              <a:gd name="connsiteY2" fmla="*/ 9105 h 10000"/>
              <a:gd name="connsiteX3" fmla="*/ 0 w 10000"/>
              <a:gd name="connsiteY3" fmla="*/ 4429 h 10000"/>
              <a:gd name="connsiteX4" fmla="*/ 0 w 10000"/>
              <a:gd name="connsiteY4" fmla="*/ 5373 h 10000"/>
              <a:gd name="connsiteX5" fmla="*/ 525 w 10000"/>
              <a:gd name="connsiteY5" fmla="*/ 10000 h 10000"/>
              <a:gd name="connsiteX6" fmla="*/ 1052 w 10000"/>
              <a:gd name="connsiteY6" fmla="*/ 5373 h 10000"/>
              <a:gd name="connsiteX7" fmla="*/ 9347 w 10000"/>
              <a:gd name="connsiteY7" fmla="*/ 5426 h 10000"/>
              <a:gd name="connsiteX8" fmla="*/ 10000 w 10000"/>
              <a:gd name="connsiteY8" fmla="*/ 0 h 10000"/>
              <a:gd name="connsiteX9" fmla="*/ 10000 w 10000"/>
              <a:gd name="connsiteY9" fmla="*/ 0 h 10000"/>
              <a:gd name="connsiteX10" fmla="*/ 9347 w 10000"/>
              <a:gd name="connsiteY10" fmla="*/ 4558 h 10000"/>
              <a:gd name="connsiteX0" fmla="*/ 9475 w 10000"/>
              <a:gd name="connsiteY0" fmla="*/ 4447 h 10000"/>
              <a:gd name="connsiteX1" fmla="*/ 1052 w 10000"/>
              <a:gd name="connsiteY1" fmla="*/ 4429 h 10000"/>
              <a:gd name="connsiteX2" fmla="*/ 525 w 10000"/>
              <a:gd name="connsiteY2" fmla="*/ 9105 h 10000"/>
              <a:gd name="connsiteX3" fmla="*/ 0 w 10000"/>
              <a:gd name="connsiteY3" fmla="*/ 4429 h 10000"/>
              <a:gd name="connsiteX4" fmla="*/ 0 w 10000"/>
              <a:gd name="connsiteY4" fmla="*/ 5373 h 10000"/>
              <a:gd name="connsiteX5" fmla="*/ 525 w 10000"/>
              <a:gd name="connsiteY5" fmla="*/ 10000 h 10000"/>
              <a:gd name="connsiteX6" fmla="*/ 1052 w 10000"/>
              <a:gd name="connsiteY6" fmla="*/ 5373 h 10000"/>
              <a:gd name="connsiteX7" fmla="*/ 9347 w 10000"/>
              <a:gd name="connsiteY7" fmla="*/ 5426 h 10000"/>
              <a:gd name="connsiteX8" fmla="*/ 10000 w 10000"/>
              <a:gd name="connsiteY8" fmla="*/ 0 h 10000"/>
              <a:gd name="connsiteX9" fmla="*/ 10000 w 10000"/>
              <a:gd name="connsiteY9" fmla="*/ 0 h 10000"/>
              <a:gd name="connsiteX10" fmla="*/ 9475 w 10000"/>
              <a:gd name="connsiteY10" fmla="*/ 4447 h 10000"/>
              <a:gd name="connsiteX0" fmla="*/ 9475 w 10000"/>
              <a:gd name="connsiteY0" fmla="*/ 4447 h 10000"/>
              <a:gd name="connsiteX1" fmla="*/ 1052 w 10000"/>
              <a:gd name="connsiteY1" fmla="*/ 4429 h 10000"/>
              <a:gd name="connsiteX2" fmla="*/ 525 w 10000"/>
              <a:gd name="connsiteY2" fmla="*/ 9105 h 10000"/>
              <a:gd name="connsiteX3" fmla="*/ 0 w 10000"/>
              <a:gd name="connsiteY3" fmla="*/ 4429 h 10000"/>
              <a:gd name="connsiteX4" fmla="*/ 0 w 10000"/>
              <a:gd name="connsiteY4" fmla="*/ 5373 h 10000"/>
              <a:gd name="connsiteX5" fmla="*/ 525 w 10000"/>
              <a:gd name="connsiteY5" fmla="*/ 10000 h 10000"/>
              <a:gd name="connsiteX6" fmla="*/ 1052 w 10000"/>
              <a:gd name="connsiteY6" fmla="*/ 5373 h 10000"/>
              <a:gd name="connsiteX7" fmla="*/ 9449 w 10000"/>
              <a:gd name="connsiteY7" fmla="*/ 5470 h 10000"/>
              <a:gd name="connsiteX8" fmla="*/ 10000 w 10000"/>
              <a:gd name="connsiteY8" fmla="*/ 0 h 10000"/>
              <a:gd name="connsiteX9" fmla="*/ 10000 w 10000"/>
              <a:gd name="connsiteY9" fmla="*/ 0 h 10000"/>
              <a:gd name="connsiteX10" fmla="*/ 9475 w 10000"/>
              <a:gd name="connsiteY10" fmla="*/ 4447 h 10000"/>
              <a:gd name="connsiteX0" fmla="*/ 9475 w 10956"/>
              <a:gd name="connsiteY0" fmla="*/ 4447 h 10000"/>
              <a:gd name="connsiteX1" fmla="*/ 1052 w 10956"/>
              <a:gd name="connsiteY1" fmla="*/ 4429 h 10000"/>
              <a:gd name="connsiteX2" fmla="*/ 525 w 10956"/>
              <a:gd name="connsiteY2" fmla="*/ 9105 h 10000"/>
              <a:gd name="connsiteX3" fmla="*/ 0 w 10956"/>
              <a:gd name="connsiteY3" fmla="*/ 4429 h 10000"/>
              <a:gd name="connsiteX4" fmla="*/ 0 w 10956"/>
              <a:gd name="connsiteY4" fmla="*/ 5373 h 10000"/>
              <a:gd name="connsiteX5" fmla="*/ 525 w 10956"/>
              <a:gd name="connsiteY5" fmla="*/ 10000 h 10000"/>
              <a:gd name="connsiteX6" fmla="*/ 1052 w 10956"/>
              <a:gd name="connsiteY6" fmla="*/ 5373 h 10000"/>
              <a:gd name="connsiteX7" fmla="*/ 9449 w 10956"/>
              <a:gd name="connsiteY7" fmla="*/ 5470 h 10000"/>
              <a:gd name="connsiteX8" fmla="*/ 10000 w 10956"/>
              <a:gd name="connsiteY8" fmla="*/ 0 h 10000"/>
              <a:gd name="connsiteX9" fmla="*/ 10000 w 10956"/>
              <a:gd name="connsiteY9" fmla="*/ 0 h 10000"/>
              <a:gd name="connsiteX10" fmla="*/ 9940 w 10956"/>
              <a:gd name="connsiteY10" fmla="*/ 1168 h 10000"/>
              <a:gd name="connsiteX11" fmla="*/ 9475 w 10956"/>
              <a:gd name="connsiteY11" fmla="*/ 4447 h 10000"/>
              <a:gd name="connsiteX0" fmla="*/ 9475 w 10956"/>
              <a:gd name="connsiteY0" fmla="*/ 4447 h 10000"/>
              <a:gd name="connsiteX1" fmla="*/ 1052 w 10956"/>
              <a:gd name="connsiteY1" fmla="*/ 4429 h 10000"/>
              <a:gd name="connsiteX2" fmla="*/ 525 w 10956"/>
              <a:gd name="connsiteY2" fmla="*/ 9105 h 10000"/>
              <a:gd name="connsiteX3" fmla="*/ 0 w 10956"/>
              <a:gd name="connsiteY3" fmla="*/ 4429 h 10000"/>
              <a:gd name="connsiteX4" fmla="*/ 0 w 10956"/>
              <a:gd name="connsiteY4" fmla="*/ 5373 h 10000"/>
              <a:gd name="connsiteX5" fmla="*/ 525 w 10956"/>
              <a:gd name="connsiteY5" fmla="*/ 10000 h 10000"/>
              <a:gd name="connsiteX6" fmla="*/ 1052 w 10956"/>
              <a:gd name="connsiteY6" fmla="*/ 5373 h 10000"/>
              <a:gd name="connsiteX7" fmla="*/ 9449 w 10956"/>
              <a:gd name="connsiteY7" fmla="*/ 5470 h 10000"/>
              <a:gd name="connsiteX8" fmla="*/ 10000 w 10956"/>
              <a:gd name="connsiteY8" fmla="*/ 0 h 10000"/>
              <a:gd name="connsiteX9" fmla="*/ 10000 w 10956"/>
              <a:gd name="connsiteY9" fmla="*/ 0 h 10000"/>
              <a:gd name="connsiteX10" fmla="*/ 10104 w 10956"/>
              <a:gd name="connsiteY10" fmla="*/ 1401 h 10000"/>
              <a:gd name="connsiteX11" fmla="*/ 9475 w 10956"/>
              <a:gd name="connsiteY11" fmla="*/ 4447 h 10000"/>
              <a:gd name="connsiteX0" fmla="*/ 9475 w 10966"/>
              <a:gd name="connsiteY0" fmla="*/ 4447 h 10000"/>
              <a:gd name="connsiteX1" fmla="*/ 1052 w 10966"/>
              <a:gd name="connsiteY1" fmla="*/ 4429 h 10000"/>
              <a:gd name="connsiteX2" fmla="*/ 525 w 10966"/>
              <a:gd name="connsiteY2" fmla="*/ 9105 h 10000"/>
              <a:gd name="connsiteX3" fmla="*/ 0 w 10966"/>
              <a:gd name="connsiteY3" fmla="*/ 4429 h 10000"/>
              <a:gd name="connsiteX4" fmla="*/ 0 w 10966"/>
              <a:gd name="connsiteY4" fmla="*/ 5373 h 10000"/>
              <a:gd name="connsiteX5" fmla="*/ 525 w 10966"/>
              <a:gd name="connsiteY5" fmla="*/ 10000 h 10000"/>
              <a:gd name="connsiteX6" fmla="*/ 1052 w 10966"/>
              <a:gd name="connsiteY6" fmla="*/ 5373 h 10000"/>
              <a:gd name="connsiteX7" fmla="*/ 9449 w 10966"/>
              <a:gd name="connsiteY7" fmla="*/ 5470 h 10000"/>
              <a:gd name="connsiteX8" fmla="*/ 10000 w 10966"/>
              <a:gd name="connsiteY8" fmla="*/ 0 h 10000"/>
              <a:gd name="connsiteX9" fmla="*/ 10000 w 10966"/>
              <a:gd name="connsiteY9" fmla="*/ 0 h 10000"/>
              <a:gd name="connsiteX10" fmla="*/ 9475 w 10966"/>
              <a:gd name="connsiteY10" fmla="*/ 4447 h 10000"/>
              <a:gd name="connsiteX0" fmla="*/ 9475 w 10966"/>
              <a:gd name="connsiteY0" fmla="*/ 4447 h 10000"/>
              <a:gd name="connsiteX1" fmla="*/ 1052 w 10966"/>
              <a:gd name="connsiteY1" fmla="*/ 4429 h 10000"/>
              <a:gd name="connsiteX2" fmla="*/ 525 w 10966"/>
              <a:gd name="connsiteY2" fmla="*/ 9105 h 10000"/>
              <a:gd name="connsiteX3" fmla="*/ 0 w 10966"/>
              <a:gd name="connsiteY3" fmla="*/ 4429 h 10000"/>
              <a:gd name="connsiteX4" fmla="*/ 0 w 10966"/>
              <a:gd name="connsiteY4" fmla="*/ 5373 h 10000"/>
              <a:gd name="connsiteX5" fmla="*/ 525 w 10966"/>
              <a:gd name="connsiteY5" fmla="*/ 10000 h 10000"/>
              <a:gd name="connsiteX6" fmla="*/ 1052 w 10966"/>
              <a:gd name="connsiteY6" fmla="*/ 5373 h 10000"/>
              <a:gd name="connsiteX7" fmla="*/ 9449 w 10966"/>
              <a:gd name="connsiteY7" fmla="*/ 5470 h 10000"/>
              <a:gd name="connsiteX8" fmla="*/ 10000 w 10966"/>
              <a:gd name="connsiteY8" fmla="*/ 0 h 10000"/>
              <a:gd name="connsiteX9" fmla="*/ 10060 w 10966"/>
              <a:gd name="connsiteY9" fmla="*/ 1567 h 10000"/>
              <a:gd name="connsiteX10" fmla="*/ 9475 w 10966"/>
              <a:gd name="connsiteY10" fmla="*/ 4447 h 10000"/>
              <a:gd name="connsiteX0" fmla="*/ 9475 w 10966"/>
              <a:gd name="connsiteY0" fmla="*/ 3647 h 9200"/>
              <a:gd name="connsiteX1" fmla="*/ 1052 w 10966"/>
              <a:gd name="connsiteY1" fmla="*/ 3629 h 9200"/>
              <a:gd name="connsiteX2" fmla="*/ 525 w 10966"/>
              <a:gd name="connsiteY2" fmla="*/ 8305 h 9200"/>
              <a:gd name="connsiteX3" fmla="*/ 0 w 10966"/>
              <a:gd name="connsiteY3" fmla="*/ 3629 h 9200"/>
              <a:gd name="connsiteX4" fmla="*/ 0 w 10966"/>
              <a:gd name="connsiteY4" fmla="*/ 4573 h 9200"/>
              <a:gd name="connsiteX5" fmla="*/ 525 w 10966"/>
              <a:gd name="connsiteY5" fmla="*/ 9200 h 9200"/>
              <a:gd name="connsiteX6" fmla="*/ 1052 w 10966"/>
              <a:gd name="connsiteY6" fmla="*/ 4573 h 9200"/>
              <a:gd name="connsiteX7" fmla="*/ 9449 w 10966"/>
              <a:gd name="connsiteY7" fmla="*/ 4670 h 9200"/>
              <a:gd name="connsiteX8" fmla="*/ 10099 w 10966"/>
              <a:gd name="connsiteY8" fmla="*/ 0 h 9200"/>
              <a:gd name="connsiteX9" fmla="*/ 10060 w 10966"/>
              <a:gd name="connsiteY9" fmla="*/ 767 h 9200"/>
              <a:gd name="connsiteX10" fmla="*/ 9475 w 10966"/>
              <a:gd name="connsiteY10" fmla="*/ 3647 h 9200"/>
              <a:gd name="connsiteX0" fmla="*/ 8640 w 10000"/>
              <a:gd name="connsiteY0" fmla="*/ 5401 h 11437"/>
              <a:gd name="connsiteX1" fmla="*/ 959 w 10000"/>
              <a:gd name="connsiteY1" fmla="*/ 5382 h 11437"/>
              <a:gd name="connsiteX2" fmla="*/ 479 w 10000"/>
              <a:gd name="connsiteY2" fmla="*/ 10464 h 11437"/>
              <a:gd name="connsiteX3" fmla="*/ 0 w 10000"/>
              <a:gd name="connsiteY3" fmla="*/ 5382 h 11437"/>
              <a:gd name="connsiteX4" fmla="*/ 0 w 10000"/>
              <a:gd name="connsiteY4" fmla="*/ 6408 h 11437"/>
              <a:gd name="connsiteX5" fmla="*/ 479 w 10000"/>
              <a:gd name="connsiteY5" fmla="*/ 11437 h 11437"/>
              <a:gd name="connsiteX6" fmla="*/ 959 w 10000"/>
              <a:gd name="connsiteY6" fmla="*/ 6408 h 11437"/>
              <a:gd name="connsiteX7" fmla="*/ 8617 w 10000"/>
              <a:gd name="connsiteY7" fmla="*/ 6513 h 11437"/>
              <a:gd name="connsiteX8" fmla="*/ 9209 w 10000"/>
              <a:gd name="connsiteY8" fmla="*/ 1437 h 11437"/>
              <a:gd name="connsiteX9" fmla="*/ 9119 w 10000"/>
              <a:gd name="connsiteY9" fmla="*/ 568 h 11437"/>
              <a:gd name="connsiteX10" fmla="*/ 8640 w 10000"/>
              <a:gd name="connsiteY10" fmla="*/ 5401 h 11437"/>
              <a:gd name="connsiteX0" fmla="*/ 8640 w 9228"/>
              <a:gd name="connsiteY0" fmla="*/ 5401 h 11437"/>
              <a:gd name="connsiteX1" fmla="*/ 959 w 9228"/>
              <a:gd name="connsiteY1" fmla="*/ 5382 h 11437"/>
              <a:gd name="connsiteX2" fmla="*/ 479 w 9228"/>
              <a:gd name="connsiteY2" fmla="*/ 10464 h 11437"/>
              <a:gd name="connsiteX3" fmla="*/ 0 w 9228"/>
              <a:gd name="connsiteY3" fmla="*/ 5382 h 11437"/>
              <a:gd name="connsiteX4" fmla="*/ 0 w 9228"/>
              <a:gd name="connsiteY4" fmla="*/ 6408 h 11437"/>
              <a:gd name="connsiteX5" fmla="*/ 479 w 9228"/>
              <a:gd name="connsiteY5" fmla="*/ 11437 h 11437"/>
              <a:gd name="connsiteX6" fmla="*/ 959 w 9228"/>
              <a:gd name="connsiteY6" fmla="*/ 6408 h 11437"/>
              <a:gd name="connsiteX7" fmla="*/ 8617 w 9228"/>
              <a:gd name="connsiteY7" fmla="*/ 6513 h 11437"/>
              <a:gd name="connsiteX8" fmla="*/ 9209 w 9228"/>
              <a:gd name="connsiteY8" fmla="*/ 1437 h 11437"/>
              <a:gd name="connsiteX9" fmla="*/ 9119 w 9228"/>
              <a:gd name="connsiteY9" fmla="*/ 568 h 11437"/>
              <a:gd name="connsiteX10" fmla="*/ 8640 w 9228"/>
              <a:gd name="connsiteY10" fmla="*/ 5401 h 11437"/>
              <a:gd name="connsiteX0" fmla="*/ 9363 w 10000"/>
              <a:gd name="connsiteY0" fmla="*/ 4722 h 10000"/>
              <a:gd name="connsiteX1" fmla="*/ 1039 w 10000"/>
              <a:gd name="connsiteY1" fmla="*/ 4706 h 10000"/>
              <a:gd name="connsiteX2" fmla="*/ 519 w 10000"/>
              <a:gd name="connsiteY2" fmla="*/ 9149 h 10000"/>
              <a:gd name="connsiteX3" fmla="*/ 0 w 10000"/>
              <a:gd name="connsiteY3" fmla="*/ 4706 h 10000"/>
              <a:gd name="connsiteX4" fmla="*/ 0 w 10000"/>
              <a:gd name="connsiteY4" fmla="*/ 5603 h 10000"/>
              <a:gd name="connsiteX5" fmla="*/ 519 w 10000"/>
              <a:gd name="connsiteY5" fmla="*/ 10000 h 10000"/>
              <a:gd name="connsiteX6" fmla="*/ 1039 w 10000"/>
              <a:gd name="connsiteY6" fmla="*/ 5603 h 10000"/>
              <a:gd name="connsiteX7" fmla="*/ 9338 w 10000"/>
              <a:gd name="connsiteY7" fmla="*/ 5695 h 10000"/>
              <a:gd name="connsiteX8" fmla="*/ 9979 w 10000"/>
              <a:gd name="connsiteY8" fmla="*/ 1256 h 10000"/>
              <a:gd name="connsiteX9" fmla="*/ 9882 w 10000"/>
              <a:gd name="connsiteY9" fmla="*/ 497 h 10000"/>
              <a:gd name="connsiteX10" fmla="*/ 9363 w 10000"/>
              <a:gd name="connsiteY10" fmla="*/ 4722 h 10000"/>
              <a:gd name="connsiteX0" fmla="*/ 9363 w 10000"/>
              <a:gd name="connsiteY0" fmla="*/ 4722 h 10000"/>
              <a:gd name="connsiteX1" fmla="*/ 1039 w 10000"/>
              <a:gd name="connsiteY1" fmla="*/ 4706 h 10000"/>
              <a:gd name="connsiteX2" fmla="*/ 519 w 10000"/>
              <a:gd name="connsiteY2" fmla="*/ 9149 h 10000"/>
              <a:gd name="connsiteX3" fmla="*/ 0 w 10000"/>
              <a:gd name="connsiteY3" fmla="*/ 4706 h 10000"/>
              <a:gd name="connsiteX4" fmla="*/ 0 w 10000"/>
              <a:gd name="connsiteY4" fmla="*/ 5603 h 10000"/>
              <a:gd name="connsiteX5" fmla="*/ 519 w 10000"/>
              <a:gd name="connsiteY5" fmla="*/ 10000 h 10000"/>
              <a:gd name="connsiteX6" fmla="*/ 1039 w 10000"/>
              <a:gd name="connsiteY6" fmla="*/ 5603 h 10000"/>
              <a:gd name="connsiteX7" fmla="*/ 9338 w 10000"/>
              <a:gd name="connsiteY7" fmla="*/ 5695 h 10000"/>
              <a:gd name="connsiteX8" fmla="*/ 9979 w 10000"/>
              <a:gd name="connsiteY8" fmla="*/ 1256 h 10000"/>
              <a:gd name="connsiteX9" fmla="*/ 9882 w 10000"/>
              <a:gd name="connsiteY9" fmla="*/ 497 h 10000"/>
              <a:gd name="connsiteX10" fmla="*/ 9363 w 10000"/>
              <a:gd name="connsiteY10" fmla="*/ 4722 h 10000"/>
              <a:gd name="connsiteX0" fmla="*/ 9363 w 10000"/>
              <a:gd name="connsiteY0" fmla="*/ 4722 h 10000"/>
              <a:gd name="connsiteX1" fmla="*/ 1039 w 10000"/>
              <a:gd name="connsiteY1" fmla="*/ 4706 h 10000"/>
              <a:gd name="connsiteX2" fmla="*/ 519 w 10000"/>
              <a:gd name="connsiteY2" fmla="*/ 9149 h 10000"/>
              <a:gd name="connsiteX3" fmla="*/ 0 w 10000"/>
              <a:gd name="connsiteY3" fmla="*/ 4706 h 10000"/>
              <a:gd name="connsiteX4" fmla="*/ 0 w 10000"/>
              <a:gd name="connsiteY4" fmla="*/ 5603 h 10000"/>
              <a:gd name="connsiteX5" fmla="*/ 519 w 10000"/>
              <a:gd name="connsiteY5" fmla="*/ 10000 h 10000"/>
              <a:gd name="connsiteX6" fmla="*/ 1039 w 10000"/>
              <a:gd name="connsiteY6" fmla="*/ 5603 h 10000"/>
              <a:gd name="connsiteX7" fmla="*/ 9338 w 10000"/>
              <a:gd name="connsiteY7" fmla="*/ 5695 h 10000"/>
              <a:gd name="connsiteX8" fmla="*/ 9979 w 10000"/>
              <a:gd name="connsiteY8" fmla="*/ 1256 h 10000"/>
              <a:gd name="connsiteX9" fmla="*/ 9882 w 10000"/>
              <a:gd name="connsiteY9" fmla="*/ 497 h 10000"/>
              <a:gd name="connsiteX10" fmla="*/ 9363 w 10000"/>
              <a:gd name="connsiteY10" fmla="*/ 4722 h 10000"/>
              <a:gd name="connsiteX0" fmla="*/ 9363 w 10000"/>
              <a:gd name="connsiteY0" fmla="*/ 4722 h 10000"/>
              <a:gd name="connsiteX1" fmla="*/ 1039 w 10000"/>
              <a:gd name="connsiteY1" fmla="*/ 4706 h 10000"/>
              <a:gd name="connsiteX2" fmla="*/ 519 w 10000"/>
              <a:gd name="connsiteY2" fmla="*/ 9149 h 10000"/>
              <a:gd name="connsiteX3" fmla="*/ 0 w 10000"/>
              <a:gd name="connsiteY3" fmla="*/ 4706 h 10000"/>
              <a:gd name="connsiteX4" fmla="*/ 0 w 10000"/>
              <a:gd name="connsiteY4" fmla="*/ 5603 h 10000"/>
              <a:gd name="connsiteX5" fmla="*/ 519 w 10000"/>
              <a:gd name="connsiteY5" fmla="*/ 10000 h 10000"/>
              <a:gd name="connsiteX6" fmla="*/ 1039 w 10000"/>
              <a:gd name="connsiteY6" fmla="*/ 5603 h 10000"/>
              <a:gd name="connsiteX7" fmla="*/ 9338 w 10000"/>
              <a:gd name="connsiteY7" fmla="*/ 5695 h 10000"/>
              <a:gd name="connsiteX8" fmla="*/ 9979 w 10000"/>
              <a:gd name="connsiteY8" fmla="*/ 1256 h 10000"/>
              <a:gd name="connsiteX9" fmla="*/ 9882 w 10000"/>
              <a:gd name="connsiteY9" fmla="*/ 497 h 10000"/>
              <a:gd name="connsiteX10" fmla="*/ 9363 w 10000"/>
              <a:gd name="connsiteY10" fmla="*/ 4722 h 10000"/>
              <a:gd name="connsiteX0" fmla="*/ 9363 w 10000"/>
              <a:gd name="connsiteY0" fmla="*/ 4722 h 10000"/>
              <a:gd name="connsiteX1" fmla="*/ 1039 w 10000"/>
              <a:gd name="connsiteY1" fmla="*/ 4706 h 10000"/>
              <a:gd name="connsiteX2" fmla="*/ 519 w 10000"/>
              <a:gd name="connsiteY2" fmla="*/ 9149 h 10000"/>
              <a:gd name="connsiteX3" fmla="*/ 0 w 10000"/>
              <a:gd name="connsiteY3" fmla="*/ 4706 h 10000"/>
              <a:gd name="connsiteX4" fmla="*/ 0 w 10000"/>
              <a:gd name="connsiteY4" fmla="*/ 5603 h 10000"/>
              <a:gd name="connsiteX5" fmla="*/ 519 w 10000"/>
              <a:gd name="connsiteY5" fmla="*/ 10000 h 10000"/>
              <a:gd name="connsiteX6" fmla="*/ 1039 w 10000"/>
              <a:gd name="connsiteY6" fmla="*/ 5603 h 10000"/>
              <a:gd name="connsiteX7" fmla="*/ 9338 w 10000"/>
              <a:gd name="connsiteY7" fmla="*/ 5695 h 10000"/>
              <a:gd name="connsiteX8" fmla="*/ 9979 w 10000"/>
              <a:gd name="connsiteY8" fmla="*/ 1256 h 10000"/>
              <a:gd name="connsiteX9" fmla="*/ 9882 w 10000"/>
              <a:gd name="connsiteY9" fmla="*/ 497 h 10000"/>
              <a:gd name="connsiteX10" fmla="*/ 9363 w 10000"/>
              <a:gd name="connsiteY10" fmla="*/ 4722 h 10000"/>
              <a:gd name="connsiteX0" fmla="*/ 9363 w 10000"/>
              <a:gd name="connsiteY0" fmla="*/ 4722 h 10000"/>
              <a:gd name="connsiteX1" fmla="*/ 1039 w 10000"/>
              <a:gd name="connsiteY1" fmla="*/ 4706 h 10000"/>
              <a:gd name="connsiteX2" fmla="*/ 519 w 10000"/>
              <a:gd name="connsiteY2" fmla="*/ 9149 h 10000"/>
              <a:gd name="connsiteX3" fmla="*/ 0 w 10000"/>
              <a:gd name="connsiteY3" fmla="*/ 4706 h 10000"/>
              <a:gd name="connsiteX4" fmla="*/ 0 w 10000"/>
              <a:gd name="connsiteY4" fmla="*/ 5603 h 10000"/>
              <a:gd name="connsiteX5" fmla="*/ 519 w 10000"/>
              <a:gd name="connsiteY5" fmla="*/ 10000 h 10000"/>
              <a:gd name="connsiteX6" fmla="*/ 1039 w 10000"/>
              <a:gd name="connsiteY6" fmla="*/ 5603 h 10000"/>
              <a:gd name="connsiteX7" fmla="*/ 9338 w 10000"/>
              <a:gd name="connsiteY7" fmla="*/ 5695 h 10000"/>
              <a:gd name="connsiteX8" fmla="*/ 9979 w 10000"/>
              <a:gd name="connsiteY8" fmla="*/ 1256 h 10000"/>
              <a:gd name="connsiteX9" fmla="*/ 9882 w 10000"/>
              <a:gd name="connsiteY9" fmla="*/ 497 h 10000"/>
              <a:gd name="connsiteX10" fmla="*/ 9363 w 10000"/>
              <a:gd name="connsiteY10" fmla="*/ 4722 h 10000"/>
              <a:gd name="connsiteX0" fmla="*/ 9363 w 9903"/>
              <a:gd name="connsiteY0" fmla="*/ 4722 h 10000"/>
              <a:gd name="connsiteX1" fmla="*/ 1039 w 9903"/>
              <a:gd name="connsiteY1" fmla="*/ 4706 h 10000"/>
              <a:gd name="connsiteX2" fmla="*/ 519 w 9903"/>
              <a:gd name="connsiteY2" fmla="*/ 9149 h 10000"/>
              <a:gd name="connsiteX3" fmla="*/ 0 w 9903"/>
              <a:gd name="connsiteY3" fmla="*/ 4706 h 10000"/>
              <a:gd name="connsiteX4" fmla="*/ 0 w 9903"/>
              <a:gd name="connsiteY4" fmla="*/ 5603 h 10000"/>
              <a:gd name="connsiteX5" fmla="*/ 519 w 9903"/>
              <a:gd name="connsiteY5" fmla="*/ 10000 h 10000"/>
              <a:gd name="connsiteX6" fmla="*/ 1039 w 9903"/>
              <a:gd name="connsiteY6" fmla="*/ 5603 h 10000"/>
              <a:gd name="connsiteX7" fmla="*/ 9338 w 9903"/>
              <a:gd name="connsiteY7" fmla="*/ 5695 h 10000"/>
              <a:gd name="connsiteX8" fmla="*/ 9882 w 9903"/>
              <a:gd name="connsiteY8" fmla="*/ 1351 h 10000"/>
              <a:gd name="connsiteX9" fmla="*/ 9882 w 9903"/>
              <a:gd name="connsiteY9" fmla="*/ 497 h 10000"/>
              <a:gd name="connsiteX10" fmla="*/ 9363 w 9903"/>
              <a:gd name="connsiteY10" fmla="*/ 4722 h 10000"/>
              <a:gd name="connsiteX0" fmla="*/ 9455 w 10003"/>
              <a:gd name="connsiteY0" fmla="*/ 4722 h 10000"/>
              <a:gd name="connsiteX1" fmla="*/ 1049 w 10003"/>
              <a:gd name="connsiteY1" fmla="*/ 4706 h 10000"/>
              <a:gd name="connsiteX2" fmla="*/ 524 w 10003"/>
              <a:gd name="connsiteY2" fmla="*/ 9149 h 10000"/>
              <a:gd name="connsiteX3" fmla="*/ 0 w 10003"/>
              <a:gd name="connsiteY3" fmla="*/ 4706 h 10000"/>
              <a:gd name="connsiteX4" fmla="*/ 0 w 10003"/>
              <a:gd name="connsiteY4" fmla="*/ 5603 h 10000"/>
              <a:gd name="connsiteX5" fmla="*/ 524 w 10003"/>
              <a:gd name="connsiteY5" fmla="*/ 10000 h 10000"/>
              <a:gd name="connsiteX6" fmla="*/ 1049 w 10003"/>
              <a:gd name="connsiteY6" fmla="*/ 5603 h 10000"/>
              <a:gd name="connsiteX7" fmla="*/ 9429 w 10003"/>
              <a:gd name="connsiteY7" fmla="*/ 5695 h 10000"/>
              <a:gd name="connsiteX8" fmla="*/ 9979 w 10003"/>
              <a:gd name="connsiteY8" fmla="*/ 1351 h 10000"/>
              <a:gd name="connsiteX9" fmla="*/ 9979 w 10003"/>
              <a:gd name="connsiteY9" fmla="*/ 497 h 10000"/>
              <a:gd name="connsiteX10" fmla="*/ 9455 w 10003"/>
              <a:gd name="connsiteY10" fmla="*/ 4722 h 10000"/>
              <a:gd name="connsiteX0" fmla="*/ 9455 w 10003"/>
              <a:gd name="connsiteY0" fmla="*/ 4722 h 10000"/>
              <a:gd name="connsiteX1" fmla="*/ 1049 w 10003"/>
              <a:gd name="connsiteY1" fmla="*/ 4706 h 10000"/>
              <a:gd name="connsiteX2" fmla="*/ 524 w 10003"/>
              <a:gd name="connsiteY2" fmla="*/ 9149 h 10000"/>
              <a:gd name="connsiteX3" fmla="*/ 0 w 10003"/>
              <a:gd name="connsiteY3" fmla="*/ 4706 h 10000"/>
              <a:gd name="connsiteX4" fmla="*/ 0 w 10003"/>
              <a:gd name="connsiteY4" fmla="*/ 5603 h 10000"/>
              <a:gd name="connsiteX5" fmla="*/ 524 w 10003"/>
              <a:gd name="connsiteY5" fmla="*/ 10000 h 10000"/>
              <a:gd name="connsiteX6" fmla="*/ 1049 w 10003"/>
              <a:gd name="connsiteY6" fmla="*/ 5603 h 10000"/>
              <a:gd name="connsiteX7" fmla="*/ 9429 w 10003"/>
              <a:gd name="connsiteY7" fmla="*/ 5695 h 10000"/>
              <a:gd name="connsiteX8" fmla="*/ 9979 w 10003"/>
              <a:gd name="connsiteY8" fmla="*/ 1351 h 10000"/>
              <a:gd name="connsiteX9" fmla="*/ 9979 w 10003"/>
              <a:gd name="connsiteY9" fmla="*/ 497 h 10000"/>
              <a:gd name="connsiteX10" fmla="*/ 9455 w 10003"/>
              <a:gd name="connsiteY10" fmla="*/ 4722 h 10000"/>
              <a:gd name="connsiteX0" fmla="*/ 9455 w 10003"/>
              <a:gd name="connsiteY0" fmla="*/ 4722 h 10000"/>
              <a:gd name="connsiteX1" fmla="*/ 1049 w 10003"/>
              <a:gd name="connsiteY1" fmla="*/ 4706 h 10000"/>
              <a:gd name="connsiteX2" fmla="*/ 524 w 10003"/>
              <a:gd name="connsiteY2" fmla="*/ 9149 h 10000"/>
              <a:gd name="connsiteX3" fmla="*/ 0 w 10003"/>
              <a:gd name="connsiteY3" fmla="*/ 4706 h 10000"/>
              <a:gd name="connsiteX4" fmla="*/ 0 w 10003"/>
              <a:gd name="connsiteY4" fmla="*/ 5603 h 10000"/>
              <a:gd name="connsiteX5" fmla="*/ 524 w 10003"/>
              <a:gd name="connsiteY5" fmla="*/ 10000 h 10000"/>
              <a:gd name="connsiteX6" fmla="*/ 1049 w 10003"/>
              <a:gd name="connsiteY6" fmla="*/ 5603 h 10000"/>
              <a:gd name="connsiteX7" fmla="*/ 9429 w 10003"/>
              <a:gd name="connsiteY7" fmla="*/ 5695 h 10000"/>
              <a:gd name="connsiteX8" fmla="*/ 9979 w 10003"/>
              <a:gd name="connsiteY8" fmla="*/ 1351 h 10000"/>
              <a:gd name="connsiteX9" fmla="*/ 9979 w 10003"/>
              <a:gd name="connsiteY9" fmla="*/ 497 h 10000"/>
              <a:gd name="connsiteX10" fmla="*/ 9455 w 10003"/>
              <a:gd name="connsiteY10" fmla="*/ 4722 h 10000"/>
              <a:gd name="connsiteX0" fmla="*/ 9455 w 10003"/>
              <a:gd name="connsiteY0" fmla="*/ 4722 h 10000"/>
              <a:gd name="connsiteX1" fmla="*/ 1049 w 10003"/>
              <a:gd name="connsiteY1" fmla="*/ 4706 h 10000"/>
              <a:gd name="connsiteX2" fmla="*/ 524 w 10003"/>
              <a:gd name="connsiteY2" fmla="*/ 9149 h 10000"/>
              <a:gd name="connsiteX3" fmla="*/ 0 w 10003"/>
              <a:gd name="connsiteY3" fmla="*/ 4706 h 10000"/>
              <a:gd name="connsiteX4" fmla="*/ 0 w 10003"/>
              <a:gd name="connsiteY4" fmla="*/ 5603 h 10000"/>
              <a:gd name="connsiteX5" fmla="*/ 524 w 10003"/>
              <a:gd name="connsiteY5" fmla="*/ 10000 h 10000"/>
              <a:gd name="connsiteX6" fmla="*/ 1049 w 10003"/>
              <a:gd name="connsiteY6" fmla="*/ 5603 h 10000"/>
              <a:gd name="connsiteX7" fmla="*/ 9429 w 10003"/>
              <a:gd name="connsiteY7" fmla="*/ 5695 h 10000"/>
              <a:gd name="connsiteX8" fmla="*/ 9979 w 10003"/>
              <a:gd name="connsiteY8" fmla="*/ 1351 h 10000"/>
              <a:gd name="connsiteX9" fmla="*/ 9979 w 10003"/>
              <a:gd name="connsiteY9" fmla="*/ 497 h 10000"/>
              <a:gd name="connsiteX10" fmla="*/ 9455 w 10003"/>
              <a:gd name="connsiteY10" fmla="*/ 4722 h 10000"/>
              <a:gd name="connsiteX0" fmla="*/ 9455 w 10003"/>
              <a:gd name="connsiteY0" fmla="*/ 4722 h 10000"/>
              <a:gd name="connsiteX1" fmla="*/ 1049 w 10003"/>
              <a:gd name="connsiteY1" fmla="*/ 4706 h 10000"/>
              <a:gd name="connsiteX2" fmla="*/ 524 w 10003"/>
              <a:gd name="connsiteY2" fmla="*/ 9149 h 10000"/>
              <a:gd name="connsiteX3" fmla="*/ 0 w 10003"/>
              <a:gd name="connsiteY3" fmla="*/ 4706 h 10000"/>
              <a:gd name="connsiteX4" fmla="*/ 0 w 10003"/>
              <a:gd name="connsiteY4" fmla="*/ 5603 h 10000"/>
              <a:gd name="connsiteX5" fmla="*/ 524 w 10003"/>
              <a:gd name="connsiteY5" fmla="*/ 10000 h 10000"/>
              <a:gd name="connsiteX6" fmla="*/ 1049 w 10003"/>
              <a:gd name="connsiteY6" fmla="*/ 5603 h 10000"/>
              <a:gd name="connsiteX7" fmla="*/ 9429 w 10003"/>
              <a:gd name="connsiteY7" fmla="*/ 5695 h 10000"/>
              <a:gd name="connsiteX8" fmla="*/ 9979 w 10003"/>
              <a:gd name="connsiteY8" fmla="*/ 1351 h 10000"/>
              <a:gd name="connsiteX9" fmla="*/ 9979 w 10003"/>
              <a:gd name="connsiteY9" fmla="*/ 497 h 10000"/>
              <a:gd name="connsiteX10" fmla="*/ 9455 w 10003"/>
              <a:gd name="connsiteY10" fmla="*/ 4722 h 10000"/>
              <a:gd name="connsiteX0" fmla="*/ 9455 w 9982"/>
              <a:gd name="connsiteY0" fmla="*/ 4722 h 10000"/>
              <a:gd name="connsiteX1" fmla="*/ 1049 w 9982"/>
              <a:gd name="connsiteY1" fmla="*/ 4706 h 10000"/>
              <a:gd name="connsiteX2" fmla="*/ 524 w 9982"/>
              <a:gd name="connsiteY2" fmla="*/ 9149 h 10000"/>
              <a:gd name="connsiteX3" fmla="*/ 0 w 9982"/>
              <a:gd name="connsiteY3" fmla="*/ 4706 h 10000"/>
              <a:gd name="connsiteX4" fmla="*/ 0 w 9982"/>
              <a:gd name="connsiteY4" fmla="*/ 5603 h 10000"/>
              <a:gd name="connsiteX5" fmla="*/ 524 w 9982"/>
              <a:gd name="connsiteY5" fmla="*/ 10000 h 10000"/>
              <a:gd name="connsiteX6" fmla="*/ 1049 w 9982"/>
              <a:gd name="connsiteY6" fmla="*/ 5603 h 10000"/>
              <a:gd name="connsiteX7" fmla="*/ 9429 w 9982"/>
              <a:gd name="connsiteY7" fmla="*/ 5695 h 10000"/>
              <a:gd name="connsiteX8" fmla="*/ 9979 w 9982"/>
              <a:gd name="connsiteY8" fmla="*/ 1351 h 10000"/>
              <a:gd name="connsiteX9" fmla="*/ 9979 w 9982"/>
              <a:gd name="connsiteY9" fmla="*/ 497 h 10000"/>
              <a:gd name="connsiteX10" fmla="*/ 9455 w 9982"/>
              <a:gd name="connsiteY10" fmla="*/ 4722 h 10000"/>
              <a:gd name="connsiteX0" fmla="*/ 9472 w 10005"/>
              <a:gd name="connsiteY0" fmla="*/ 4722 h 10000"/>
              <a:gd name="connsiteX1" fmla="*/ 1051 w 10005"/>
              <a:gd name="connsiteY1" fmla="*/ 4706 h 10000"/>
              <a:gd name="connsiteX2" fmla="*/ 525 w 10005"/>
              <a:gd name="connsiteY2" fmla="*/ 9149 h 10000"/>
              <a:gd name="connsiteX3" fmla="*/ 0 w 10005"/>
              <a:gd name="connsiteY3" fmla="*/ 4706 h 10000"/>
              <a:gd name="connsiteX4" fmla="*/ 0 w 10005"/>
              <a:gd name="connsiteY4" fmla="*/ 5603 h 10000"/>
              <a:gd name="connsiteX5" fmla="*/ 525 w 10005"/>
              <a:gd name="connsiteY5" fmla="*/ 10000 h 10000"/>
              <a:gd name="connsiteX6" fmla="*/ 1051 w 10005"/>
              <a:gd name="connsiteY6" fmla="*/ 5603 h 10000"/>
              <a:gd name="connsiteX7" fmla="*/ 9446 w 10005"/>
              <a:gd name="connsiteY7" fmla="*/ 5695 h 10000"/>
              <a:gd name="connsiteX8" fmla="*/ 9997 w 10005"/>
              <a:gd name="connsiteY8" fmla="*/ 1351 h 10000"/>
              <a:gd name="connsiteX9" fmla="*/ 9997 w 10005"/>
              <a:gd name="connsiteY9" fmla="*/ 497 h 10000"/>
              <a:gd name="connsiteX10" fmla="*/ 9472 w 10005"/>
              <a:gd name="connsiteY10" fmla="*/ 4722 h 10000"/>
              <a:gd name="connsiteX0" fmla="*/ 9472 w 9997"/>
              <a:gd name="connsiteY0" fmla="*/ 4722 h 10000"/>
              <a:gd name="connsiteX1" fmla="*/ 1051 w 9997"/>
              <a:gd name="connsiteY1" fmla="*/ 4706 h 10000"/>
              <a:gd name="connsiteX2" fmla="*/ 525 w 9997"/>
              <a:gd name="connsiteY2" fmla="*/ 9149 h 10000"/>
              <a:gd name="connsiteX3" fmla="*/ 0 w 9997"/>
              <a:gd name="connsiteY3" fmla="*/ 4706 h 10000"/>
              <a:gd name="connsiteX4" fmla="*/ 0 w 9997"/>
              <a:gd name="connsiteY4" fmla="*/ 5603 h 10000"/>
              <a:gd name="connsiteX5" fmla="*/ 525 w 9997"/>
              <a:gd name="connsiteY5" fmla="*/ 10000 h 10000"/>
              <a:gd name="connsiteX6" fmla="*/ 1051 w 9997"/>
              <a:gd name="connsiteY6" fmla="*/ 5603 h 10000"/>
              <a:gd name="connsiteX7" fmla="*/ 9446 w 9997"/>
              <a:gd name="connsiteY7" fmla="*/ 5695 h 10000"/>
              <a:gd name="connsiteX8" fmla="*/ 9942 w 9997"/>
              <a:gd name="connsiteY8" fmla="*/ 1985 h 10000"/>
              <a:gd name="connsiteX9" fmla="*/ 9997 w 9997"/>
              <a:gd name="connsiteY9" fmla="*/ 497 h 10000"/>
              <a:gd name="connsiteX10" fmla="*/ 9472 w 9997"/>
              <a:gd name="connsiteY10" fmla="*/ 4722 h 10000"/>
              <a:gd name="connsiteX0" fmla="*/ 9475 w 10008"/>
              <a:gd name="connsiteY0" fmla="*/ 4722 h 10000"/>
              <a:gd name="connsiteX1" fmla="*/ 1051 w 10008"/>
              <a:gd name="connsiteY1" fmla="*/ 4706 h 10000"/>
              <a:gd name="connsiteX2" fmla="*/ 525 w 10008"/>
              <a:gd name="connsiteY2" fmla="*/ 9149 h 10000"/>
              <a:gd name="connsiteX3" fmla="*/ 0 w 10008"/>
              <a:gd name="connsiteY3" fmla="*/ 4706 h 10000"/>
              <a:gd name="connsiteX4" fmla="*/ 0 w 10008"/>
              <a:gd name="connsiteY4" fmla="*/ 5603 h 10000"/>
              <a:gd name="connsiteX5" fmla="*/ 525 w 10008"/>
              <a:gd name="connsiteY5" fmla="*/ 10000 h 10000"/>
              <a:gd name="connsiteX6" fmla="*/ 1051 w 10008"/>
              <a:gd name="connsiteY6" fmla="*/ 5603 h 10000"/>
              <a:gd name="connsiteX7" fmla="*/ 9449 w 10008"/>
              <a:gd name="connsiteY7" fmla="*/ 5695 h 10000"/>
              <a:gd name="connsiteX8" fmla="*/ 10000 w 10008"/>
              <a:gd name="connsiteY8" fmla="*/ 1319 h 10000"/>
              <a:gd name="connsiteX9" fmla="*/ 10000 w 10008"/>
              <a:gd name="connsiteY9" fmla="*/ 497 h 10000"/>
              <a:gd name="connsiteX10" fmla="*/ 9475 w 10008"/>
              <a:gd name="connsiteY10" fmla="*/ 4722 h 10000"/>
              <a:gd name="connsiteX0" fmla="*/ 9475 w 10008"/>
              <a:gd name="connsiteY0" fmla="*/ 4722 h 10000"/>
              <a:gd name="connsiteX1" fmla="*/ 1051 w 10008"/>
              <a:gd name="connsiteY1" fmla="*/ 4706 h 10000"/>
              <a:gd name="connsiteX2" fmla="*/ 525 w 10008"/>
              <a:gd name="connsiteY2" fmla="*/ 9149 h 10000"/>
              <a:gd name="connsiteX3" fmla="*/ 0 w 10008"/>
              <a:gd name="connsiteY3" fmla="*/ 4706 h 10000"/>
              <a:gd name="connsiteX4" fmla="*/ 0 w 10008"/>
              <a:gd name="connsiteY4" fmla="*/ 5603 h 10000"/>
              <a:gd name="connsiteX5" fmla="*/ 525 w 10008"/>
              <a:gd name="connsiteY5" fmla="*/ 10000 h 10000"/>
              <a:gd name="connsiteX6" fmla="*/ 1051 w 10008"/>
              <a:gd name="connsiteY6" fmla="*/ 5603 h 10000"/>
              <a:gd name="connsiteX7" fmla="*/ 9449 w 10008"/>
              <a:gd name="connsiteY7" fmla="*/ 5695 h 10000"/>
              <a:gd name="connsiteX8" fmla="*/ 10000 w 10008"/>
              <a:gd name="connsiteY8" fmla="*/ 1224 h 10000"/>
              <a:gd name="connsiteX9" fmla="*/ 10000 w 10008"/>
              <a:gd name="connsiteY9" fmla="*/ 497 h 10000"/>
              <a:gd name="connsiteX10" fmla="*/ 9475 w 10008"/>
              <a:gd name="connsiteY10" fmla="*/ 4722 h 10000"/>
              <a:gd name="connsiteX0" fmla="*/ 9475 w 10008"/>
              <a:gd name="connsiteY0" fmla="*/ 4722 h 10000"/>
              <a:gd name="connsiteX1" fmla="*/ 1051 w 10008"/>
              <a:gd name="connsiteY1" fmla="*/ 4706 h 10000"/>
              <a:gd name="connsiteX2" fmla="*/ 525 w 10008"/>
              <a:gd name="connsiteY2" fmla="*/ 9149 h 10000"/>
              <a:gd name="connsiteX3" fmla="*/ 0 w 10008"/>
              <a:gd name="connsiteY3" fmla="*/ 4706 h 10000"/>
              <a:gd name="connsiteX4" fmla="*/ 0 w 10008"/>
              <a:gd name="connsiteY4" fmla="*/ 5603 h 10000"/>
              <a:gd name="connsiteX5" fmla="*/ 525 w 10008"/>
              <a:gd name="connsiteY5" fmla="*/ 10000 h 10000"/>
              <a:gd name="connsiteX6" fmla="*/ 1051 w 10008"/>
              <a:gd name="connsiteY6" fmla="*/ 5603 h 10000"/>
              <a:gd name="connsiteX7" fmla="*/ 9449 w 10008"/>
              <a:gd name="connsiteY7" fmla="*/ 5695 h 10000"/>
              <a:gd name="connsiteX8" fmla="*/ 10000 w 10008"/>
              <a:gd name="connsiteY8" fmla="*/ 1224 h 10000"/>
              <a:gd name="connsiteX9" fmla="*/ 10000 w 10008"/>
              <a:gd name="connsiteY9" fmla="*/ 497 h 10000"/>
              <a:gd name="connsiteX10" fmla="*/ 9475 w 10008"/>
              <a:gd name="connsiteY10" fmla="*/ 4722 h 10000"/>
              <a:gd name="connsiteX0" fmla="*/ 9475 w 10008"/>
              <a:gd name="connsiteY0" fmla="*/ 4722 h 10000"/>
              <a:gd name="connsiteX1" fmla="*/ 1051 w 10008"/>
              <a:gd name="connsiteY1" fmla="*/ 4706 h 10000"/>
              <a:gd name="connsiteX2" fmla="*/ 525 w 10008"/>
              <a:gd name="connsiteY2" fmla="*/ 9149 h 10000"/>
              <a:gd name="connsiteX3" fmla="*/ 0 w 10008"/>
              <a:gd name="connsiteY3" fmla="*/ 4706 h 10000"/>
              <a:gd name="connsiteX4" fmla="*/ 0 w 10008"/>
              <a:gd name="connsiteY4" fmla="*/ 5603 h 10000"/>
              <a:gd name="connsiteX5" fmla="*/ 525 w 10008"/>
              <a:gd name="connsiteY5" fmla="*/ 10000 h 10000"/>
              <a:gd name="connsiteX6" fmla="*/ 1051 w 10008"/>
              <a:gd name="connsiteY6" fmla="*/ 5603 h 10000"/>
              <a:gd name="connsiteX7" fmla="*/ 9449 w 10008"/>
              <a:gd name="connsiteY7" fmla="*/ 5695 h 10000"/>
              <a:gd name="connsiteX8" fmla="*/ 10000 w 10008"/>
              <a:gd name="connsiteY8" fmla="*/ 1224 h 10000"/>
              <a:gd name="connsiteX9" fmla="*/ 10000 w 10008"/>
              <a:gd name="connsiteY9" fmla="*/ 497 h 10000"/>
              <a:gd name="connsiteX10" fmla="*/ 9475 w 10008"/>
              <a:gd name="connsiteY10" fmla="*/ 4722 h 10000"/>
              <a:gd name="connsiteX0" fmla="*/ 9475 w 10008"/>
              <a:gd name="connsiteY0" fmla="*/ 4722 h 10000"/>
              <a:gd name="connsiteX1" fmla="*/ 1051 w 10008"/>
              <a:gd name="connsiteY1" fmla="*/ 4706 h 10000"/>
              <a:gd name="connsiteX2" fmla="*/ 525 w 10008"/>
              <a:gd name="connsiteY2" fmla="*/ 9149 h 10000"/>
              <a:gd name="connsiteX3" fmla="*/ 0 w 10008"/>
              <a:gd name="connsiteY3" fmla="*/ 4706 h 10000"/>
              <a:gd name="connsiteX4" fmla="*/ 0 w 10008"/>
              <a:gd name="connsiteY4" fmla="*/ 5603 h 10000"/>
              <a:gd name="connsiteX5" fmla="*/ 525 w 10008"/>
              <a:gd name="connsiteY5" fmla="*/ 10000 h 10000"/>
              <a:gd name="connsiteX6" fmla="*/ 1051 w 10008"/>
              <a:gd name="connsiteY6" fmla="*/ 5603 h 10000"/>
              <a:gd name="connsiteX7" fmla="*/ 9449 w 10008"/>
              <a:gd name="connsiteY7" fmla="*/ 5695 h 10000"/>
              <a:gd name="connsiteX8" fmla="*/ 10000 w 10008"/>
              <a:gd name="connsiteY8" fmla="*/ 1224 h 10000"/>
              <a:gd name="connsiteX9" fmla="*/ 10000 w 10008"/>
              <a:gd name="connsiteY9" fmla="*/ 497 h 10000"/>
              <a:gd name="connsiteX10" fmla="*/ 9475 w 10008"/>
              <a:gd name="connsiteY10" fmla="*/ 4722 h 10000"/>
              <a:gd name="connsiteX0" fmla="*/ 9475 w 10008"/>
              <a:gd name="connsiteY0" fmla="*/ 4722 h 10000"/>
              <a:gd name="connsiteX1" fmla="*/ 1051 w 10008"/>
              <a:gd name="connsiteY1" fmla="*/ 4706 h 10000"/>
              <a:gd name="connsiteX2" fmla="*/ 525 w 10008"/>
              <a:gd name="connsiteY2" fmla="*/ 9149 h 10000"/>
              <a:gd name="connsiteX3" fmla="*/ 0 w 10008"/>
              <a:gd name="connsiteY3" fmla="*/ 4706 h 10000"/>
              <a:gd name="connsiteX4" fmla="*/ 0 w 10008"/>
              <a:gd name="connsiteY4" fmla="*/ 5603 h 10000"/>
              <a:gd name="connsiteX5" fmla="*/ 525 w 10008"/>
              <a:gd name="connsiteY5" fmla="*/ 10000 h 10000"/>
              <a:gd name="connsiteX6" fmla="*/ 1051 w 10008"/>
              <a:gd name="connsiteY6" fmla="*/ 5603 h 10000"/>
              <a:gd name="connsiteX7" fmla="*/ 9449 w 10008"/>
              <a:gd name="connsiteY7" fmla="*/ 5695 h 10000"/>
              <a:gd name="connsiteX8" fmla="*/ 10000 w 10008"/>
              <a:gd name="connsiteY8" fmla="*/ 1224 h 10000"/>
              <a:gd name="connsiteX9" fmla="*/ 10000 w 10008"/>
              <a:gd name="connsiteY9" fmla="*/ 497 h 10000"/>
              <a:gd name="connsiteX10" fmla="*/ 9475 w 10008"/>
              <a:gd name="connsiteY10" fmla="*/ 4722 h 10000"/>
              <a:gd name="connsiteX0" fmla="*/ 9475 w 10008"/>
              <a:gd name="connsiteY0" fmla="*/ 4722 h 10000"/>
              <a:gd name="connsiteX1" fmla="*/ 1051 w 10008"/>
              <a:gd name="connsiteY1" fmla="*/ 4706 h 10000"/>
              <a:gd name="connsiteX2" fmla="*/ 525 w 10008"/>
              <a:gd name="connsiteY2" fmla="*/ 9149 h 10000"/>
              <a:gd name="connsiteX3" fmla="*/ 0 w 10008"/>
              <a:gd name="connsiteY3" fmla="*/ 4706 h 10000"/>
              <a:gd name="connsiteX4" fmla="*/ 0 w 10008"/>
              <a:gd name="connsiteY4" fmla="*/ 5603 h 10000"/>
              <a:gd name="connsiteX5" fmla="*/ 525 w 10008"/>
              <a:gd name="connsiteY5" fmla="*/ 10000 h 10000"/>
              <a:gd name="connsiteX6" fmla="*/ 1051 w 10008"/>
              <a:gd name="connsiteY6" fmla="*/ 5603 h 10000"/>
              <a:gd name="connsiteX7" fmla="*/ 9449 w 10008"/>
              <a:gd name="connsiteY7" fmla="*/ 5695 h 10000"/>
              <a:gd name="connsiteX8" fmla="*/ 10000 w 10008"/>
              <a:gd name="connsiteY8" fmla="*/ 1224 h 10000"/>
              <a:gd name="connsiteX9" fmla="*/ 10000 w 10008"/>
              <a:gd name="connsiteY9" fmla="*/ 497 h 10000"/>
              <a:gd name="connsiteX10" fmla="*/ 9475 w 10008"/>
              <a:gd name="connsiteY10" fmla="*/ 4722 h 10000"/>
              <a:gd name="connsiteX0" fmla="*/ 9475 w 10008"/>
              <a:gd name="connsiteY0" fmla="*/ 4722 h 10000"/>
              <a:gd name="connsiteX1" fmla="*/ 1051 w 10008"/>
              <a:gd name="connsiteY1" fmla="*/ 4706 h 10000"/>
              <a:gd name="connsiteX2" fmla="*/ 525 w 10008"/>
              <a:gd name="connsiteY2" fmla="*/ 9149 h 10000"/>
              <a:gd name="connsiteX3" fmla="*/ 0 w 10008"/>
              <a:gd name="connsiteY3" fmla="*/ 4706 h 10000"/>
              <a:gd name="connsiteX4" fmla="*/ 0 w 10008"/>
              <a:gd name="connsiteY4" fmla="*/ 5603 h 10000"/>
              <a:gd name="connsiteX5" fmla="*/ 525 w 10008"/>
              <a:gd name="connsiteY5" fmla="*/ 10000 h 10000"/>
              <a:gd name="connsiteX6" fmla="*/ 1051 w 10008"/>
              <a:gd name="connsiteY6" fmla="*/ 5603 h 10000"/>
              <a:gd name="connsiteX7" fmla="*/ 9449 w 10008"/>
              <a:gd name="connsiteY7" fmla="*/ 5695 h 10000"/>
              <a:gd name="connsiteX8" fmla="*/ 10000 w 10008"/>
              <a:gd name="connsiteY8" fmla="*/ 1224 h 10000"/>
              <a:gd name="connsiteX9" fmla="*/ 10000 w 10008"/>
              <a:gd name="connsiteY9" fmla="*/ 497 h 10000"/>
              <a:gd name="connsiteX10" fmla="*/ 9475 w 10008"/>
              <a:gd name="connsiteY10" fmla="*/ 472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0008" h="10000">
                <a:moveTo>
                  <a:pt x="9475" y="4722"/>
                </a:moveTo>
                <a:lnTo>
                  <a:pt x="1051" y="4706"/>
                </a:lnTo>
                <a:cubicBezTo>
                  <a:pt x="636" y="4706"/>
                  <a:pt x="525" y="9149"/>
                  <a:pt x="525" y="9149"/>
                </a:cubicBezTo>
                <a:cubicBezTo>
                  <a:pt x="525" y="9149"/>
                  <a:pt x="415" y="4706"/>
                  <a:pt x="0" y="4706"/>
                </a:cubicBezTo>
                <a:lnTo>
                  <a:pt x="0" y="5603"/>
                </a:lnTo>
                <a:cubicBezTo>
                  <a:pt x="415" y="5603"/>
                  <a:pt x="525" y="10000"/>
                  <a:pt x="525" y="10000"/>
                </a:cubicBezTo>
                <a:cubicBezTo>
                  <a:pt x="525" y="10000"/>
                  <a:pt x="636" y="5603"/>
                  <a:pt x="1051" y="5603"/>
                </a:cubicBezTo>
                <a:lnTo>
                  <a:pt x="9449" y="5695"/>
                </a:lnTo>
                <a:cubicBezTo>
                  <a:pt x="9827" y="5410"/>
                  <a:pt x="9934" y="2946"/>
                  <a:pt x="10000" y="1224"/>
                </a:cubicBezTo>
                <a:cubicBezTo>
                  <a:pt x="10008" y="1086"/>
                  <a:pt x="10001" y="0"/>
                  <a:pt x="10000" y="497"/>
                </a:cubicBezTo>
                <a:cubicBezTo>
                  <a:pt x="9937" y="1770"/>
                  <a:pt x="9819" y="4623"/>
                  <a:pt x="9475" y="4722"/>
                </a:cubicBezTo>
                <a:close/>
              </a:path>
            </a:pathLst>
          </a:custGeom>
          <a:solidFill>
            <a:srgbClr val="DD0982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fr-FR" kern="0">
              <a:solidFill>
                <a:sysClr val="windowText" lastClr="000000"/>
              </a:solidFill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0" y="4346575"/>
            <a:ext cx="9144000" cy="2106613"/>
          </a:xfrm>
          <a:prstGeom prst="rect">
            <a:avLst/>
          </a:prstGeom>
          <a:solidFill>
            <a:srgbClr val="0070C0">
              <a:alpha val="4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anchor="ctr"/>
          <a:lstStyle/>
          <a:p>
            <a:pPr algn="ctr">
              <a:defRPr/>
            </a:pPr>
            <a:endParaRPr lang="en-US" sz="1300" dirty="0"/>
          </a:p>
        </p:txBody>
      </p:sp>
      <p:sp>
        <p:nvSpPr>
          <p:cNvPr id="1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1588" y="0"/>
            <a:ext cx="9147176" cy="2517775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2958168"/>
              <a:gd name="connsiteX1" fmla="*/ 9749773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331 w 10562411"/>
              <a:gd name="connsiteY7" fmla="*/ 2791 h 2958168"/>
              <a:gd name="connsiteX0" fmla="*/ 1331 w 10562411"/>
              <a:gd name="connsiteY0" fmla="*/ 2791 h 2958168"/>
              <a:gd name="connsiteX1" fmla="*/ 9749773 w 10562411"/>
              <a:gd name="connsiteY1" fmla="*/ 0 h 2958168"/>
              <a:gd name="connsiteX2" fmla="*/ 10561157 w 10562411"/>
              <a:gd name="connsiteY2" fmla="*/ 1476338 h 2958168"/>
              <a:gd name="connsiteX3" fmla="*/ 8330082 w 10562411"/>
              <a:gd name="connsiteY3" fmla="*/ 2161611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331 w 10562411"/>
              <a:gd name="connsiteY7" fmla="*/ 2791 h 2958168"/>
              <a:gd name="connsiteX0" fmla="*/ 1331 w 9751027"/>
              <a:gd name="connsiteY0" fmla="*/ 2791 h 2958168"/>
              <a:gd name="connsiteX1" fmla="*/ 9749773 w 9751027"/>
              <a:gd name="connsiteY1" fmla="*/ 0 h 2958168"/>
              <a:gd name="connsiteX2" fmla="*/ 9749773 w 9751027"/>
              <a:gd name="connsiteY2" fmla="*/ 1518345 h 2958168"/>
              <a:gd name="connsiteX3" fmla="*/ 8330082 w 9751027"/>
              <a:gd name="connsiteY3" fmla="*/ 2161611 h 2958168"/>
              <a:gd name="connsiteX4" fmla="*/ 2317558 w 9751027"/>
              <a:gd name="connsiteY4" fmla="*/ 2159512 h 2958168"/>
              <a:gd name="connsiteX5" fmla="*/ 1180889 w 9751027"/>
              <a:gd name="connsiteY5" fmla="*/ 2958168 h 2958168"/>
              <a:gd name="connsiteX6" fmla="*/ 0 w 9751027"/>
              <a:gd name="connsiteY6" fmla="*/ 2174065 h 2958168"/>
              <a:gd name="connsiteX7" fmla="*/ 1331 w 9751027"/>
              <a:gd name="connsiteY7" fmla="*/ 2791 h 2958168"/>
              <a:gd name="connsiteX0" fmla="*/ 1331 w 9751027"/>
              <a:gd name="connsiteY0" fmla="*/ 0 h 2955377"/>
              <a:gd name="connsiteX1" fmla="*/ 9749773 w 9751027"/>
              <a:gd name="connsiteY1" fmla="*/ 179239 h 2955377"/>
              <a:gd name="connsiteX2" fmla="*/ 9749773 w 9751027"/>
              <a:gd name="connsiteY2" fmla="*/ 1515554 h 2955377"/>
              <a:gd name="connsiteX3" fmla="*/ 8330082 w 9751027"/>
              <a:gd name="connsiteY3" fmla="*/ 2158820 h 2955377"/>
              <a:gd name="connsiteX4" fmla="*/ 2317558 w 9751027"/>
              <a:gd name="connsiteY4" fmla="*/ 2156721 h 2955377"/>
              <a:gd name="connsiteX5" fmla="*/ 1180889 w 9751027"/>
              <a:gd name="connsiteY5" fmla="*/ 2955377 h 2955377"/>
              <a:gd name="connsiteX6" fmla="*/ 0 w 9751027"/>
              <a:gd name="connsiteY6" fmla="*/ 2171274 h 2955377"/>
              <a:gd name="connsiteX7" fmla="*/ 1331 w 9751027"/>
              <a:gd name="connsiteY7" fmla="*/ 0 h 2955377"/>
              <a:gd name="connsiteX0" fmla="*/ 2189 w 9751027"/>
              <a:gd name="connsiteY0" fmla="*/ 0 h 2776138"/>
              <a:gd name="connsiteX1" fmla="*/ 9749773 w 9751027"/>
              <a:gd name="connsiteY1" fmla="*/ 0 h 2776138"/>
              <a:gd name="connsiteX2" fmla="*/ 9749773 w 9751027"/>
              <a:gd name="connsiteY2" fmla="*/ 1336315 h 2776138"/>
              <a:gd name="connsiteX3" fmla="*/ 8330082 w 9751027"/>
              <a:gd name="connsiteY3" fmla="*/ 1979581 h 2776138"/>
              <a:gd name="connsiteX4" fmla="*/ 2317558 w 9751027"/>
              <a:gd name="connsiteY4" fmla="*/ 1977482 h 2776138"/>
              <a:gd name="connsiteX5" fmla="*/ 1180889 w 9751027"/>
              <a:gd name="connsiteY5" fmla="*/ 2776138 h 2776138"/>
              <a:gd name="connsiteX6" fmla="*/ 0 w 9751027"/>
              <a:gd name="connsiteY6" fmla="*/ 1992035 h 2776138"/>
              <a:gd name="connsiteX7" fmla="*/ 2189 w 9751027"/>
              <a:gd name="connsiteY7" fmla="*/ 0 h 2776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751027" h="2776138">
                <a:moveTo>
                  <a:pt x="2189" y="0"/>
                </a:moveTo>
                <a:lnTo>
                  <a:pt x="9749773" y="0"/>
                </a:lnTo>
                <a:cubicBezTo>
                  <a:pt x="9750286" y="67600"/>
                  <a:pt x="9751027" y="1292900"/>
                  <a:pt x="9749773" y="1336315"/>
                </a:cubicBezTo>
                <a:cubicBezTo>
                  <a:pt x="9272377" y="2008324"/>
                  <a:pt x="8746668" y="1984901"/>
                  <a:pt x="8330082" y="1979581"/>
                </a:cubicBezTo>
                <a:lnTo>
                  <a:pt x="2317558" y="1977482"/>
                </a:lnTo>
                <a:cubicBezTo>
                  <a:pt x="1740344" y="2010624"/>
                  <a:pt x="1372498" y="2313316"/>
                  <a:pt x="1180889" y="2776138"/>
                </a:cubicBezTo>
                <a:cubicBezTo>
                  <a:pt x="882535" y="2072361"/>
                  <a:pt x="278640" y="1991157"/>
                  <a:pt x="0" y="1992035"/>
                </a:cubicBezTo>
                <a:cubicBezTo>
                  <a:pt x="2067" y="195652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rgbClr val="A1A1A1">
                <a:alpha val="24706"/>
              </a:srgbClr>
            </a:outerShdw>
          </a:effectLst>
        </p:spPr>
        <p:txBody>
          <a:bodyPr lIns="33059" tIns="42976" rIns="33059" bIns="4297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2" name="Rectangle 11"/>
          <p:cNvSpPr/>
          <p:nvPr userDrawn="1">
            <p:custDataLst>
              <p:tags r:id="rId4"/>
            </p:custDataLst>
          </p:nvPr>
        </p:nvSpPr>
        <p:spPr>
          <a:xfrm>
            <a:off x="0" y="6400800"/>
            <a:ext cx="9144000" cy="45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anchor="ctr"/>
          <a:lstStyle/>
          <a:p>
            <a:pPr algn="ctr">
              <a:defRPr/>
            </a:pPr>
            <a:endParaRPr lang="en-US" sz="1300" dirty="0"/>
          </a:p>
        </p:txBody>
      </p:sp>
      <p:pic>
        <p:nvPicPr>
          <p:cNvPr id="13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516688" y="6529388"/>
            <a:ext cx="2520950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4" name="Group 71"/>
          <p:cNvGrpSpPr>
            <a:grpSpLocks/>
          </p:cNvGrpSpPr>
          <p:nvPr userDrawn="1"/>
        </p:nvGrpSpPr>
        <p:grpSpPr bwMode="auto">
          <a:xfrm>
            <a:off x="6423025" y="5654675"/>
            <a:ext cx="395288" cy="465138"/>
            <a:chOff x="6137269" y="5708334"/>
            <a:chExt cx="395544" cy="463864"/>
          </a:xfrm>
        </p:grpSpPr>
        <p:sp>
          <p:nvSpPr>
            <p:cNvPr id="15" name="Freeform 26"/>
            <p:cNvSpPr>
              <a:spLocks/>
            </p:cNvSpPr>
            <p:nvPr userDrawn="1"/>
          </p:nvSpPr>
          <p:spPr bwMode="auto">
            <a:xfrm>
              <a:off x="6137269" y="5708334"/>
              <a:ext cx="160442" cy="227974"/>
            </a:xfrm>
            <a:custGeom>
              <a:avLst/>
              <a:gdLst/>
              <a:ahLst/>
              <a:cxnLst>
                <a:cxn ang="0">
                  <a:pos x="74" y="79"/>
                </a:cxn>
                <a:cxn ang="0">
                  <a:pos x="47" y="44"/>
                </a:cxn>
                <a:cxn ang="0">
                  <a:pos x="57" y="23"/>
                </a:cxn>
                <a:cxn ang="0">
                  <a:pos x="39" y="0"/>
                </a:cxn>
                <a:cxn ang="0">
                  <a:pos x="20" y="23"/>
                </a:cxn>
                <a:cxn ang="0">
                  <a:pos x="30" y="44"/>
                </a:cxn>
                <a:cxn ang="0">
                  <a:pos x="0" y="104"/>
                </a:cxn>
              </a:cxnLst>
              <a:rect l="0" t="0" r="r" b="b"/>
              <a:pathLst>
                <a:path w="74" h="104">
                  <a:moveTo>
                    <a:pt x="74" y="79"/>
                  </a:moveTo>
                  <a:cubicBezTo>
                    <a:pt x="71" y="62"/>
                    <a:pt x="62" y="49"/>
                    <a:pt x="47" y="44"/>
                  </a:cubicBezTo>
                  <a:cubicBezTo>
                    <a:pt x="52" y="40"/>
                    <a:pt x="57" y="31"/>
                    <a:pt x="57" y="23"/>
                  </a:cubicBezTo>
                  <a:cubicBezTo>
                    <a:pt x="57" y="10"/>
                    <a:pt x="49" y="0"/>
                    <a:pt x="39" y="0"/>
                  </a:cubicBezTo>
                  <a:cubicBezTo>
                    <a:pt x="28" y="0"/>
                    <a:pt x="20" y="10"/>
                    <a:pt x="20" y="23"/>
                  </a:cubicBezTo>
                  <a:cubicBezTo>
                    <a:pt x="20" y="31"/>
                    <a:pt x="26" y="40"/>
                    <a:pt x="30" y="44"/>
                  </a:cubicBezTo>
                  <a:cubicBezTo>
                    <a:pt x="8" y="51"/>
                    <a:pt x="0" y="75"/>
                    <a:pt x="0" y="104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" name="Freeform 27"/>
            <p:cNvSpPr>
              <a:spLocks/>
            </p:cNvSpPr>
            <p:nvPr userDrawn="1"/>
          </p:nvSpPr>
          <p:spPr bwMode="auto">
            <a:xfrm>
              <a:off x="6184925" y="5944224"/>
              <a:ext cx="73072" cy="1583"/>
            </a:xfrm>
            <a:custGeom>
              <a:avLst/>
              <a:gdLst/>
              <a:ahLst/>
              <a:cxnLst>
                <a:cxn ang="0">
                  <a:pos x="34" y="0"/>
                </a:cxn>
                <a:cxn ang="0">
                  <a:pos x="0" y="0"/>
                </a:cxn>
              </a:cxnLst>
              <a:rect l="0" t="0" r="r" b="b"/>
              <a:pathLst>
                <a:path w="34">
                  <a:moveTo>
                    <a:pt x="34" y="0"/>
                  </a:moveTo>
                  <a:cubicBezTo>
                    <a:pt x="24" y="0"/>
                    <a:pt x="11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28"/>
            <p:cNvSpPr>
              <a:spLocks/>
            </p:cNvSpPr>
            <p:nvPr userDrawn="1"/>
          </p:nvSpPr>
          <p:spPr bwMode="auto">
            <a:xfrm>
              <a:off x="6367606" y="5766911"/>
              <a:ext cx="165207" cy="281801"/>
            </a:xfrm>
            <a:custGeom>
              <a:avLst/>
              <a:gdLst/>
              <a:ahLst/>
              <a:cxnLst>
                <a:cxn ang="0">
                  <a:pos x="0" y="67"/>
                </a:cxn>
                <a:cxn ang="0">
                  <a:pos x="21" y="52"/>
                </a:cxn>
                <a:cxn ang="0">
                  <a:pos x="9" y="27"/>
                </a:cxn>
                <a:cxn ang="0">
                  <a:pos x="31" y="0"/>
                </a:cxn>
                <a:cxn ang="0">
                  <a:pos x="54" y="27"/>
                </a:cxn>
                <a:cxn ang="0">
                  <a:pos x="41" y="52"/>
                </a:cxn>
                <a:cxn ang="0">
                  <a:pos x="76" y="122"/>
                </a:cxn>
                <a:cxn ang="0">
                  <a:pos x="11" y="126"/>
                </a:cxn>
              </a:cxnLst>
              <a:rect l="0" t="0" r="r" b="b"/>
              <a:pathLst>
                <a:path w="76" h="128">
                  <a:moveTo>
                    <a:pt x="0" y="67"/>
                  </a:moveTo>
                  <a:cubicBezTo>
                    <a:pt x="5" y="59"/>
                    <a:pt x="12" y="54"/>
                    <a:pt x="21" y="52"/>
                  </a:cubicBezTo>
                  <a:cubicBezTo>
                    <a:pt x="16" y="46"/>
                    <a:pt x="9" y="36"/>
                    <a:pt x="9" y="27"/>
                  </a:cubicBezTo>
                  <a:cubicBezTo>
                    <a:pt x="9" y="11"/>
                    <a:pt x="19" y="0"/>
                    <a:pt x="31" y="0"/>
                  </a:cubicBezTo>
                  <a:cubicBezTo>
                    <a:pt x="44" y="0"/>
                    <a:pt x="54" y="11"/>
                    <a:pt x="54" y="27"/>
                  </a:cubicBezTo>
                  <a:cubicBezTo>
                    <a:pt x="54" y="36"/>
                    <a:pt x="47" y="46"/>
                    <a:pt x="41" y="52"/>
                  </a:cubicBezTo>
                  <a:cubicBezTo>
                    <a:pt x="67" y="59"/>
                    <a:pt x="76" y="88"/>
                    <a:pt x="76" y="122"/>
                  </a:cubicBezTo>
                  <a:cubicBezTo>
                    <a:pt x="76" y="126"/>
                    <a:pt x="37" y="128"/>
                    <a:pt x="11" y="12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18" name="Group 76"/>
            <p:cNvGrpSpPr>
              <a:grpSpLocks/>
            </p:cNvGrpSpPr>
            <p:nvPr userDrawn="1"/>
          </p:nvGrpSpPr>
          <p:grpSpPr bwMode="auto">
            <a:xfrm>
              <a:off x="6200810" y="5879314"/>
              <a:ext cx="235102" cy="292884"/>
              <a:chOff x="6200810" y="5879314"/>
              <a:chExt cx="235102" cy="292884"/>
            </a:xfrm>
          </p:grpSpPr>
          <p:sp>
            <p:nvSpPr>
              <p:cNvPr id="19" name="Freeform 18"/>
              <p:cNvSpPr>
                <a:spLocks/>
              </p:cNvSpPr>
              <p:nvPr userDrawn="1"/>
            </p:nvSpPr>
            <p:spPr bwMode="auto">
              <a:xfrm>
                <a:off x="6259586" y="5880898"/>
                <a:ext cx="38125" cy="63326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18" y="0"/>
                  </a:cxn>
                </a:cxnLst>
                <a:rect l="0" t="0" r="r" b="b"/>
                <a:pathLst>
                  <a:path w="18" h="29">
                    <a:moveTo>
                      <a:pt x="0" y="29"/>
                    </a:moveTo>
                    <a:cubicBezTo>
                      <a:pt x="1" y="15"/>
                      <a:pt x="8" y="4"/>
                      <a:pt x="18" y="0"/>
                    </a:cubicBez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Freeform 19"/>
              <p:cNvSpPr>
                <a:spLocks/>
              </p:cNvSpPr>
              <p:nvPr userDrawn="1"/>
            </p:nvSpPr>
            <p:spPr bwMode="auto">
              <a:xfrm>
                <a:off x="6200810" y="5944224"/>
                <a:ext cx="90547" cy="227974"/>
              </a:xfrm>
              <a:custGeom>
                <a:avLst/>
                <a:gdLst>
                  <a:gd name="connsiteX0" fmla="*/ 6429 w 10000"/>
                  <a:gd name="connsiteY0" fmla="*/ 0 h 8863"/>
                  <a:gd name="connsiteX1" fmla="*/ 6429 w 10000"/>
                  <a:gd name="connsiteY1" fmla="*/ 171 h 8863"/>
                  <a:gd name="connsiteX2" fmla="*/ 10000 w 10000"/>
                  <a:gd name="connsiteY2" fmla="*/ 2735 h 8863"/>
                  <a:gd name="connsiteX3" fmla="*/ 0 w 10000"/>
                  <a:gd name="connsiteY3" fmla="*/ 8863 h 8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000" h="8863">
                    <a:moveTo>
                      <a:pt x="6429" y="0"/>
                    </a:moveTo>
                    <a:lnTo>
                      <a:pt x="6429" y="171"/>
                    </a:lnTo>
                    <a:cubicBezTo>
                      <a:pt x="6429" y="1197"/>
                      <a:pt x="8333" y="2222"/>
                      <a:pt x="10000" y="2735"/>
                    </a:cubicBezTo>
                    <a:cubicBezTo>
                      <a:pt x="2381" y="3504"/>
                      <a:pt x="0" y="5359"/>
                      <a:pt x="0" y="8863"/>
                    </a:cubicBez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1" name="Freeform 20"/>
              <p:cNvSpPr>
                <a:spLocks/>
              </p:cNvSpPr>
              <p:nvPr userDrawn="1"/>
            </p:nvSpPr>
            <p:spPr bwMode="auto">
              <a:xfrm>
                <a:off x="6391433" y="6042379"/>
                <a:ext cx="44479" cy="12190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0" y="55"/>
                  </a:cxn>
                </a:cxnLst>
                <a:rect l="0" t="0" r="r" b="b"/>
                <a:pathLst>
                  <a:path w="20" h="55">
                    <a:moveTo>
                      <a:pt x="0" y="0"/>
                    </a:moveTo>
                    <a:cubicBezTo>
                      <a:pt x="12" y="13"/>
                      <a:pt x="18" y="32"/>
                      <a:pt x="20" y="55"/>
                    </a:cubicBez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2" name="Freeform 21"/>
              <p:cNvSpPr>
                <a:spLocks/>
              </p:cNvSpPr>
              <p:nvPr userDrawn="1"/>
            </p:nvSpPr>
            <p:spPr bwMode="auto">
              <a:xfrm>
                <a:off x="6297711" y="5879314"/>
                <a:ext cx="69895" cy="34829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9" y="0"/>
                  </a:cxn>
                  <a:cxn ang="0">
                    <a:pos x="32" y="16"/>
                  </a:cxn>
                </a:cxnLst>
                <a:rect l="0" t="0" r="r" b="b"/>
                <a:pathLst>
                  <a:path w="32" h="16">
                    <a:moveTo>
                      <a:pt x="0" y="1"/>
                    </a:moveTo>
                    <a:cubicBezTo>
                      <a:pt x="3" y="0"/>
                      <a:pt x="6" y="0"/>
                      <a:pt x="9" y="0"/>
                    </a:cubicBezTo>
                    <a:cubicBezTo>
                      <a:pt x="19" y="0"/>
                      <a:pt x="28" y="6"/>
                      <a:pt x="32" y="16"/>
                    </a:cubicBez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3" name="Freeform 22"/>
              <p:cNvSpPr>
                <a:spLocks/>
              </p:cNvSpPr>
              <p:nvPr userDrawn="1"/>
            </p:nvSpPr>
            <p:spPr bwMode="auto">
              <a:xfrm>
                <a:off x="6343777" y="5914143"/>
                <a:ext cx="47656" cy="128236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5" y="16"/>
                  </a:cxn>
                  <a:cxn ang="0">
                    <a:pos x="0" y="46"/>
                  </a:cxn>
                  <a:cxn ang="0">
                    <a:pos x="22" y="59"/>
                  </a:cxn>
                </a:cxnLst>
                <a:rect l="0" t="0" r="r" b="b"/>
                <a:pathLst>
                  <a:path w="22" h="59">
                    <a:moveTo>
                      <a:pt x="11" y="0"/>
                    </a:moveTo>
                    <a:cubicBezTo>
                      <a:pt x="13" y="4"/>
                      <a:pt x="15" y="10"/>
                      <a:pt x="15" y="16"/>
                    </a:cubicBezTo>
                    <a:cubicBezTo>
                      <a:pt x="15" y="28"/>
                      <a:pt x="7" y="40"/>
                      <a:pt x="0" y="46"/>
                    </a:cubicBezTo>
                    <a:cubicBezTo>
                      <a:pt x="9" y="49"/>
                      <a:pt x="16" y="53"/>
                      <a:pt x="22" y="59"/>
                    </a:cubicBez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4" name="Line 65"/>
          <p:cNvSpPr>
            <a:spLocks noChangeShapeType="1"/>
          </p:cNvSpPr>
          <p:nvPr userDrawn="1"/>
        </p:nvSpPr>
        <p:spPr bwMode="auto">
          <a:xfrm>
            <a:off x="7962900" y="6045200"/>
            <a:ext cx="279400" cy="0"/>
          </a:xfrm>
          <a:prstGeom prst="line">
            <a:avLst/>
          </a:prstGeom>
          <a:noFill/>
          <a:ln w="19050" cap="rnd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5" name="Line 66"/>
          <p:cNvSpPr>
            <a:spLocks noChangeShapeType="1"/>
          </p:cNvSpPr>
          <p:nvPr userDrawn="1"/>
        </p:nvSpPr>
        <p:spPr bwMode="auto">
          <a:xfrm>
            <a:off x="6721475" y="6119813"/>
            <a:ext cx="327025" cy="0"/>
          </a:xfrm>
          <a:prstGeom prst="line">
            <a:avLst/>
          </a:prstGeom>
          <a:noFill/>
          <a:ln w="19050" cap="rnd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26" name="Group 83"/>
          <p:cNvGrpSpPr>
            <a:grpSpLocks/>
          </p:cNvGrpSpPr>
          <p:nvPr userDrawn="1"/>
        </p:nvGrpSpPr>
        <p:grpSpPr bwMode="auto">
          <a:xfrm>
            <a:off x="7043738" y="5822950"/>
            <a:ext cx="447675" cy="452438"/>
            <a:chOff x="6773882" y="5879779"/>
            <a:chExt cx="447482" cy="451477"/>
          </a:xfrm>
        </p:grpSpPr>
        <p:sp>
          <p:nvSpPr>
            <p:cNvPr id="27" name="Freeform 56"/>
            <p:cNvSpPr>
              <a:spLocks/>
            </p:cNvSpPr>
            <p:nvPr userDrawn="1"/>
          </p:nvSpPr>
          <p:spPr bwMode="auto">
            <a:xfrm>
              <a:off x="6773882" y="5960570"/>
              <a:ext cx="52364" cy="209105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0" y="66"/>
                </a:cxn>
                <a:cxn ang="0">
                  <a:pos x="4" y="95"/>
                </a:cxn>
              </a:cxnLst>
              <a:rect l="0" t="0" r="r" b="b"/>
              <a:pathLst>
                <a:path w="24" h="95">
                  <a:moveTo>
                    <a:pt x="24" y="0"/>
                  </a:moveTo>
                  <a:cubicBezTo>
                    <a:pt x="9" y="18"/>
                    <a:pt x="0" y="41"/>
                    <a:pt x="0" y="66"/>
                  </a:cubicBezTo>
                  <a:cubicBezTo>
                    <a:pt x="0" y="76"/>
                    <a:pt x="1" y="86"/>
                    <a:pt x="4" y="95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" name="Freeform 57"/>
            <p:cNvSpPr>
              <a:spLocks/>
            </p:cNvSpPr>
            <p:nvPr userDrawn="1"/>
          </p:nvSpPr>
          <p:spPr bwMode="auto">
            <a:xfrm>
              <a:off x="6826246" y="5879779"/>
              <a:ext cx="342752" cy="80791"/>
            </a:xfrm>
            <a:custGeom>
              <a:avLst/>
              <a:gdLst/>
              <a:ahLst/>
              <a:cxnLst>
                <a:cxn ang="0">
                  <a:pos x="0" y="37"/>
                </a:cxn>
                <a:cxn ang="0">
                  <a:pos x="79" y="0"/>
                </a:cxn>
                <a:cxn ang="0">
                  <a:pos x="158" y="37"/>
                </a:cxn>
              </a:cxnLst>
              <a:rect l="0" t="0" r="r" b="b"/>
              <a:pathLst>
                <a:path w="158" h="37">
                  <a:moveTo>
                    <a:pt x="0" y="37"/>
                  </a:moveTo>
                  <a:cubicBezTo>
                    <a:pt x="19" y="15"/>
                    <a:pt x="47" y="0"/>
                    <a:pt x="79" y="0"/>
                  </a:cubicBezTo>
                  <a:cubicBezTo>
                    <a:pt x="111" y="0"/>
                    <a:pt x="139" y="15"/>
                    <a:pt x="158" y="37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" name="Freeform 58"/>
            <p:cNvSpPr>
              <a:spLocks/>
            </p:cNvSpPr>
            <p:nvPr userDrawn="1"/>
          </p:nvSpPr>
          <p:spPr bwMode="auto">
            <a:xfrm>
              <a:off x="6826246" y="5960570"/>
              <a:ext cx="342752" cy="3960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79" y="18"/>
                </a:cxn>
                <a:cxn ang="0">
                  <a:pos x="115" y="15"/>
                </a:cxn>
                <a:cxn ang="0">
                  <a:pos x="137" y="9"/>
                </a:cxn>
                <a:cxn ang="0">
                  <a:pos x="158" y="0"/>
                </a:cxn>
              </a:cxnLst>
              <a:rect l="0" t="0" r="r" b="b"/>
              <a:pathLst>
                <a:path w="158" h="18">
                  <a:moveTo>
                    <a:pt x="0" y="0"/>
                  </a:moveTo>
                  <a:cubicBezTo>
                    <a:pt x="19" y="11"/>
                    <a:pt x="47" y="18"/>
                    <a:pt x="79" y="18"/>
                  </a:cubicBezTo>
                  <a:cubicBezTo>
                    <a:pt x="91" y="18"/>
                    <a:pt x="103" y="17"/>
                    <a:pt x="115" y="15"/>
                  </a:cubicBezTo>
                  <a:cubicBezTo>
                    <a:pt x="137" y="9"/>
                    <a:pt x="137" y="9"/>
                    <a:pt x="137" y="9"/>
                  </a:cubicBezTo>
                  <a:cubicBezTo>
                    <a:pt x="145" y="7"/>
                    <a:pt x="151" y="4"/>
                    <a:pt x="15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" name="Freeform 59"/>
            <p:cNvSpPr>
              <a:spLocks/>
            </p:cNvSpPr>
            <p:nvPr userDrawn="1"/>
          </p:nvSpPr>
          <p:spPr bwMode="auto">
            <a:xfrm>
              <a:off x="6826246" y="6210862"/>
              <a:ext cx="342752" cy="39603"/>
            </a:xfrm>
            <a:custGeom>
              <a:avLst/>
              <a:gdLst/>
              <a:ahLst/>
              <a:cxnLst>
                <a:cxn ang="0">
                  <a:pos x="158" y="18"/>
                </a:cxn>
                <a:cxn ang="0">
                  <a:pos x="79" y="0"/>
                </a:cxn>
                <a:cxn ang="0">
                  <a:pos x="0" y="18"/>
                </a:cxn>
              </a:cxnLst>
              <a:rect l="0" t="0" r="r" b="b"/>
              <a:pathLst>
                <a:path w="158" h="18">
                  <a:moveTo>
                    <a:pt x="158" y="18"/>
                  </a:moveTo>
                  <a:cubicBezTo>
                    <a:pt x="139" y="7"/>
                    <a:pt x="111" y="0"/>
                    <a:pt x="79" y="0"/>
                  </a:cubicBezTo>
                  <a:cubicBezTo>
                    <a:pt x="47" y="0"/>
                    <a:pt x="19" y="7"/>
                    <a:pt x="0" y="18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" name="Line 61"/>
            <p:cNvSpPr>
              <a:spLocks noChangeShapeType="1"/>
            </p:cNvSpPr>
            <p:nvPr userDrawn="1"/>
          </p:nvSpPr>
          <p:spPr bwMode="auto">
            <a:xfrm>
              <a:off x="7081724" y="6106310"/>
              <a:ext cx="139640" cy="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" name="Freeform 55"/>
            <p:cNvSpPr>
              <a:spLocks/>
            </p:cNvSpPr>
            <p:nvPr userDrawn="1"/>
          </p:nvSpPr>
          <p:spPr bwMode="auto">
            <a:xfrm>
              <a:off x="6826246" y="5960570"/>
              <a:ext cx="395118" cy="370686"/>
            </a:xfrm>
            <a:custGeom>
              <a:avLst/>
              <a:gdLst/>
              <a:ahLst/>
              <a:cxnLst>
                <a:cxn ang="0">
                  <a:pos x="0" y="133"/>
                </a:cxn>
                <a:cxn ang="0">
                  <a:pos x="79" y="169"/>
                </a:cxn>
                <a:cxn ang="0">
                  <a:pos x="182" y="66"/>
                </a:cxn>
                <a:cxn ang="0">
                  <a:pos x="158" y="0"/>
                </a:cxn>
              </a:cxnLst>
              <a:rect l="0" t="0" r="r" b="b"/>
              <a:pathLst>
                <a:path w="182" h="169">
                  <a:moveTo>
                    <a:pt x="0" y="133"/>
                  </a:moveTo>
                  <a:cubicBezTo>
                    <a:pt x="19" y="155"/>
                    <a:pt x="47" y="169"/>
                    <a:pt x="79" y="169"/>
                  </a:cubicBezTo>
                  <a:cubicBezTo>
                    <a:pt x="136" y="169"/>
                    <a:pt x="182" y="123"/>
                    <a:pt x="182" y="66"/>
                  </a:cubicBezTo>
                  <a:cubicBezTo>
                    <a:pt x="182" y="41"/>
                    <a:pt x="173" y="18"/>
                    <a:pt x="15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" name="Freeform 60"/>
            <p:cNvSpPr>
              <a:spLocks/>
            </p:cNvSpPr>
            <p:nvPr userDrawn="1"/>
          </p:nvSpPr>
          <p:spPr bwMode="auto">
            <a:xfrm>
              <a:off x="6875438" y="5879779"/>
              <a:ext cx="244370" cy="451477"/>
            </a:xfrm>
            <a:custGeom>
              <a:avLst/>
              <a:gdLst/>
              <a:ahLst/>
              <a:cxnLst>
                <a:cxn ang="0">
                  <a:pos x="4" y="66"/>
                </a:cxn>
                <a:cxn ang="0">
                  <a:pos x="56" y="0"/>
                </a:cxn>
                <a:cxn ang="0">
                  <a:pos x="99" y="38"/>
                </a:cxn>
                <a:cxn ang="0">
                  <a:pos x="107" y="60"/>
                </a:cxn>
                <a:cxn ang="0">
                  <a:pos x="112" y="103"/>
                </a:cxn>
                <a:cxn ang="0">
                  <a:pos x="56" y="206"/>
                </a:cxn>
                <a:cxn ang="0">
                  <a:pos x="0" y="103"/>
                </a:cxn>
                <a:cxn ang="0">
                  <a:pos x="1" y="91"/>
                </a:cxn>
                <a:cxn ang="0">
                  <a:pos x="4" y="66"/>
                </a:cxn>
              </a:cxnLst>
              <a:rect l="0" t="0" r="r" b="b"/>
              <a:pathLst>
                <a:path w="112" h="206">
                  <a:moveTo>
                    <a:pt x="4" y="66"/>
                  </a:moveTo>
                  <a:cubicBezTo>
                    <a:pt x="11" y="27"/>
                    <a:pt x="32" y="0"/>
                    <a:pt x="56" y="0"/>
                  </a:cubicBezTo>
                  <a:cubicBezTo>
                    <a:pt x="73" y="0"/>
                    <a:pt x="89" y="15"/>
                    <a:pt x="99" y="38"/>
                  </a:cubicBezTo>
                  <a:cubicBezTo>
                    <a:pt x="107" y="60"/>
                    <a:pt x="107" y="60"/>
                    <a:pt x="107" y="60"/>
                  </a:cubicBezTo>
                  <a:cubicBezTo>
                    <a:pt x="110" y="73"/>
                    <a:pt x="112" y="87"/>
                    <a:pt x="112" y="103"/>
                  </a:cubicBezTo>
                  <a:cubicBezTo>
                    <a:pt x="112" y="160"/>
                    <a:pt x="87" y="206"/>
                    <a:pt x="56" y="206"/>
                  </a:cubicBezTo>
                  <a:cubicBezTo>
                    <a:pt x="25" y="206"/>
                    <a:pt x="0" y="160"/>
                    <a:pt x="0" y="103"/>
                  </a:cubicBezTo>
                  <a:cubicBezTo>
                    <a:pt x="0" y="99"/>
                    <a:pt x="0" y="95"/>
                    <a:pt x="1" y="91"/>
                  </a:cubicBezTo>
                  <a:lnTo>
                    <a:pt x="4" y="66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" name="Line 64"/>
            <p:cNvSpPr>
              <a:spLocks noChangeShapeType="1"/>
            </p:cNvSpPr>
            <p:nvPr userDrawn="1"/>
          </p:nvSpPr>
          <p:spPr bwMode="auto">
            <a:xfrm flipV="1">
              <a:off x="6997623" y="5879779"/>
              <a:ext cx="1587" cy="451477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" name="Freeform 63"/>
            <p:cNvSpPr>
              <a:spLocks/>
            </p:cNvSpPr>
            <p:nvPr userDrawn="1"/>
          </p:nvSpPr>
          <p:spPr bwMode="auto">
            <a:xfrm>
              <a:off x="6775468" y="6106310"/>
              <a:ext cx="307842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26" y="0"/>
                </a:cxn>
                <a:cxn ang="0">
                  <a:pos x="386" y="0"/>
                </a:cxn>
              </a:cxnLst>
              <a:rect l="0" t="0" r="r" b="b"/>
              <a:pathLst>
                <a:path w="386">
                  <a:moveTo>
                    <a:pt x="0" y="0"/>
                  </a:moveTo>
                  <a:lnTo>
                    <a:pt x="326" y="0"/>
                  </a:lnTo>
                  <a:lnTo>
                    <a:pt x="386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36" name="Line 65"/>
          <p:cNvSpPr>
            <a:spLocks noChangeShapeType="1"/>
          </p:cNvSpPr>
          <p:nvPr userDrawn="1"/>
        </p:nvSpPr>
        <p:spPr bwMode="auto">
          <a:xfrm>
            <a:off x="7483475" y="6048375"/>
            <a:ext cx="225425" cy="0"/>
          </a:xfrm>
          <a:prstGeom prst="line">
            <a:avLst/>
          </a:prstGeom>
          <a:noFill/>
          <a:ln w="19050" cap="rnd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37" name="Group 94"/>
          <p:cNvGrpSpPr>
            <a:grpSpLocks/>
          </p:cNvGrpSpPr>
          <p:nvPr userDrawn="1"/>
        </p:nvGrpSpPr>
        <p:grpSpPr bwMode="auto">
          <a:xfrm>
            <a:off x="7702550" y="5588000"/>
            <a:ext cx="273050" cy="454025"/>
            <a:chOff x="7764121" y="5644568"/>
            <a:chExt cx="271804" cy="453811"/>
          </a:xfrm>
        </p:grpSpPr>
        <p:sp>
          <p:nvSpPr>
            <p:cNvPr id="38" name="Freeform 49"/>
            <p:cNvSpPr/>
            <p:nvPr userDrawn="1"/>
          </p:nvSpPr>
          <p:spPr>
            <a:xfrm>
              <a:off x="7764121" y="5644568"/>
              <a:ext cx="271804" cy="171369"/>
            </a:xfrm>
            <a:custGeom>
              <a:avLst/>
              <a:gdLst>
                <a:gd name="connsiteX0" fmla="*/ 844550 w 844550"/>
                <a:gd name="connsiteY0" fmla="*/ 234950 h 425450"/>
                <a:gd name="connsiteX1" fmla="*/ 457200 w 844550"/>
                <a:gd name="connsiteY1" fmla="*/ 425450 h 425450"/>
                <a:gd name="connsiteX2" fmla="*/ 0 w 844550"/>
                <a:gd name="connsiteY2" fmla="*/ 222250 h 425450"/>
                <a:gd name="connsiteX3" fmla="*/ 463550 w 844550"/>
                <a:gd name="connsiteY3" fmla="*/ 0 h 425450"/>
                <a:gd name="connsiteX4" fmla="*/ 844550 w 844550"/>
                <a:gd name="connsiteY4" fmla="*/ 234950 h 425450"/>
                <a:gd name="connsiteX0" fmla="*/ 844550 w 935990"/>
                <a:gd name="connsiteY0" fmla="*/ 234950 h 425450"/>
                <a:gd name="connsiteX1" fmla="*/ 457200 w 935990"/>
                <a:gd name="connsiteY1" fmla="*/ 425450 h 425450"/>
                <a:gd name="connsiteX2" fmla="*/ 0 w 935990"/>
                <a:gd name="connsiteY2" fmla="*/ 222250 h 425450"/>
                <a:gd name="connsiteX3" fmla="*/ 463550 w 935990"/>
                <a:gd name="connsiteY3" fmla="*/ 0 h 425450"/>
                <a:gd name="connsiteX4" fmla="*/ 935990 w 935990"/>
                <a:gd name="connsiteY4" fmla="*/ 326390 h 425450"/>
                <a:gd name="connsiteX0" fmla="*/ 844550 w 885983"/>
                <a:gd name="connsiteY0" fmla="*/ 234950 h 425450"/>
                <a:gd name="connsiteX1" fmla="*/ 457200 w 885983"/>
                <a:gd name="connsiteY1" fmla="*/ 425450 h 425450"/>
                <a:gd name="connsiteX2" fmla="*/ 0 w 885983"/>
                <a:gd name="connsiteY2" fmla="*/ 222250 h 425450"/>
                <a:gd name="connsiteX3" fmla="*/ 463550 w 885983"/>
                <a:gd name="connsiteY3" fmla="*/ 0 h 425450"/>
                <a:gd name="connsiteX4" fmla="*/ 885983 w 885983"/>
                <a:gd name="connsiteY4" fmla="*/ 207327 h 425450"/>
                <a:gd name="connsiteX0" fmla="*/ 844550 w 883602"/>
                <a:gd name="connsiteY0" fmla="*/ 234950 h 595471"/>
                <a:gd name="connsiteX1" fmla="*/ 457200 w 883602"/>
                <a:gd name="connsiteY1" fmla="*/ 425450 h 595471"/>
                <a:gd name="connsiteX2" fmla="*/ 0 w 883602"/>
                <a:gd name="connsiteY2" fmla="*/ 222250 h 595471"/>
                <a:gd name="connsiteX3" fmla="*/ 463550 w 883602"/>
                <a:gd name="connsiteY3" fmla="*/ 0 h 595471"/>
                <a:gd name="connsiteX4" fmla="*/ 883602 w 883602"/>
                <a:gd name="connsiteY4" fmla="*/ 595471 h 595471"/>
                <a:gd name="connsiteX0" fmla="*/ 844550 w 946310"/>
                <a:gd name="connsiteY0" fmla="*/ 234950 h 595471"/>
                <a:gd name="connsiteX1" fmla="*/ 457200 w 946310"/>
                <a:gd name="connsiteY1" fmla="*/ 425450 h 595471"/>
                <a:gd name="connsiteX2" fmla="*/ 0 w 946310"/>
                <a:gd name="connsiteY2" fmla="*/ 222250 h 595471"/>
                <a:gd name="connsiteX3" fmla="*/ 463550 w 946310"/>
                <a:gd name="connsiteY3" fmla="*/ 0 h 595471"/>
                <a:gd name="connsiteX4" fmla="*/ 876301 w 946310"/>
                <a:gd name="connsiteY4" fmla="*/ 206375 h 595471"/>
                <a:gd name="connsiteX5" fmla="*/ 883602 w 946310"/>
                <a:gd name="connsiteY5" fmla="*/ 595471 h 595471"/>
                <a:gd name="connsiteX0" fmla="*/ 844550 w 946310"/>
                <a:gd name="connsiteY0" fmla="*/ 234950 h 595471"/>
                <a:gd name="connsiteX1" fmla="*/ 457200 w 946310"/>
                <a:gd name="connsiteY1" fmla="*/ 425450 h 595471"/>
                <a:gd name="connsiteX2" fmla="*/ 0 w 946310"/>
                <a:gd name="connsiteY2" fmla="*/ 222250 h 595471"/>
                <a:gd name="connsiteX3" fmla="*/ 463550 w 946310"/>
                <a:gd name="connsiteY3" fmla="*/ 0 h 595471"/>
                <a:gd name="connsiteX4" fmla="*/ 876301 w 946310"/>
                <a:gd name="connsiteY4" fmla="*/ 206375 h 595471"/>
                <a:gd name="connsiteX5" fmla="*/ 883602 w 946310"/>
                <a:gd name="connsiteY5" fmla="*/ 595471 h 595471"/>
                <a:gd name="connsiteX0" fmla="*/ 844550 w 946310"/>
                <a:gd name="connsiteY0" fmla="*/ 234950 h 595471"/>
                <a:gd name="connsiteX1" fmla="*/ 457200 w 946310"/>
                <a:gd name="connsiteY1" fmla="*/ 425450 h 595471"/>
                <a:gd name="connsiteX2" fmla="*/ 0 w 946310"/>
                <a:gd name="connsiteY2" fmla="*/ 222250 h 595471"/>
                <a:gd name="connsiteX3" fmla="*/ 463550 w 946310"/>
                <a:gd name="connsiteY3" fmla="*/ 0 h 595471"/>
                <a:gd name="connsiteX4" fmla="*/ 876301 w 946310"/>
                <a:gd name="connsiteY4" fmla="*/ 206375 h 595471"/>
                <a:gd name="connsiteX5" fmla="*/ 883602 w 946310"/>
                <a:gd name="connsiteY5" fmla="*/ 595471 h 595471"/>
                <a:gd name="connsiteX0" fmla="*/ 844550 w 946310"/>
                <a:gd name="connsiteY0" fmla="*/ 234950 h 595471"/>
                <a:gd name="connsiteX1" fmla="*/ 457200 w 946310"/>
                <a:gd name="connsiteY1" fmla="*/ 425450 h 595471"/>
                <a:gd name="connsiteX2" fmla="*/ 0 w 946310"/>
                <a:gd name="connsiteY2" fmla="*/ 222250 h 595471"/>
                <a:gd name="connsiteX3" fmla="*/ 463550 w 946310"/>
                <a:gd name="connsiteY3" fmla="*/ 0 h 595471"/>
                <a:gd name="connsiteX4" fmla="*/ 876301 w 946310"/>
                <a:gd name="connsiteY4" fmla="*/ 206375 h 595471"/>
                <a:gd name="connsiteX5" fmla="*/ 883602 w 946310"/>
                <a:gd name="connsiteY5" fmla="*/ 595471 h 595471"/>
                <a:gd name="connsiteX0" fmla="*/ 844550 w 946310"/>
                <a:gd name="connsiteY0" fmla="*/ 234950 h 595471"/>
                <a:gd name="connsiteX1" fmla="*/ 457200 w 946310"/>
                <a:gd name="connsiteY1" fmla="*/ 425450 h 595471"/>
                <a:gd name="connsiteX2" fmla="*/ 0 w 946310"/>
                <a:gd name="connsiteY2" fmla="*/ 222250 h 595471"/>
                <a:gd name="connsiteX3" fmla="*/ 463550 w 946310"/>
                <a:gd name="connsiteY3" fmla="*/ 0 h 595471"/>
                <a:gd name="connsiteX4" fmla="*/ 876301 w 946310"/>
                <a:gd name="connsiteY4" fmla="*/ 206375 h 595471"/>
                <a:gd name="connsiteX5" fmla="*/ 883602 w 946310"/>
                <a:gd name="connsiteY5" fmla="*/ 595471 h 595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46310" h="595471">
                  <a:moveTo>
                    <a:pt x="844550" y="234950"/>
                  </a:moveTo>
                  <a:lnTo>
                    <a:pt x="457200" y="425450"/>
                  </a:lnTo>
                  <a:lnTo>
                    <a:pt x="0" y="222250"/>
                  </a:lnTo>
                  <a:lnTo>
                    <a:pt x="463550" y="0"/>
                  </a:lnTo>
                  <a:cubicBezTo>
                    <a:pt x="634604" y="85858"/>
                    <a:pt x="696755" y="119037"/>
                    <a:pt x="876301" y="206375"/>
                  </a:cubicBezTo>
                  <a:cubicBezTo>
                    <a:pt x="946310" y="305620"/>
                    <a:pt x="859763" y="554831"/>
                    <a:pt x="883602" y="595471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</a:endParaRPr>
            </a:p>
          </p:txBody>
        </p:sp>
        <p:grpSp>
          <p:nvGrpSpPr>
            <p:cNvPr id="39" name="Group 87"/>
            <p:cNvGrpSpPr>
              <a:grpSpLocks/>
            </p:cNvGrpSpPr>
            <p:nvPr userDrawn="1"/>
          </p:nvGrpSpPr>
          <p:grpSpPr bwMode="auto">
            <a:xfrm>
              <a:off x="7809949" y="5733426"/>
              <a:ext cx="165926" cy="79338"/>
              <a:chOff x="8343349" y="5780967"/>
              <a:chExt cx="165926" cy="64990"/>
            </a:xfrm>
          </p:grpSpPr>
          <p:sp>
            <p:nvSpPr>
              <p:cNvPr id="45" name="Freeform 56"/>
              <p:cNvSpPr/>
              <p:nvPr userDrawn="1"/>
            </p:nvSpPr>
            <p:spPr>
              <a:xfrm>
                <a:off x="8343349" y="5780967"/>
                <a:ext cx="31605" cy="64990"/>
              </a:xfrm>
              <a:custGeom>
                <a:avLst/>
                <a:gdLst>
                  <a:gd name="connsiteX0" fmla="*/ 2381 w 52387"/>
                  <a:gd name="connsiteY0" fmla="*/ 0 h 216694"/>
                  <a:gd name="connsiteX1" fmla="*/ 0 w 52387"/>
                  <a:gd name="connsiteY1" fmla="*/ 188119 h 216694"/>
                  <a:gd name="connsiteX2" fmla="*/ 52387 w 52387"/>
                  <a:gd name="connsiteY2" fmla="*/ 216694 h 216694"/>
                  <a:gd name="connsiteX0" fmla="*/ 2381 w 52387"/>
                  <a:gd name="connsiteY0" fmla="*/ 0 h 216694"/>
                  <a:gd name="connsiteX1" fmla="*/ 0 w 52387"/>
                  <a:gd name="connsiteY1" fmla="*/ 159544 h 216694"/>
                  <a:gd name="connsiteX2" fmla="*/ 52387 w 52387"/>
                  <a:gd name="connsiteY2" fmla="*/ 216694 h 216694"/>
                  <a:gd name="connsiteX0" fmla="*/ 2381 w 97630"/>
                  <a:gd name="connsiteY0" fmla="*/ 0 h 178594"/>
                  <a:gd name="connsiteX1" fmla="*/ 0 w 97630"/>
                  <a:gd name="connsiteY1" fmla="*/ 159544 h 178594"/>
                  <a:gd name="connsiteX2" fmla="*/ 97630 w 97630"/>
                  <a:gd name="connsiteY2" fmla="*/ 178594 h 178594"/>
                  <a:gd name="connsiteX0" fmla="*/ 19050 w 114299"/>
                  <a:gd name="connsiteY0" fmla="*/ 0 h 178594"/>
                  <a:gd name="connsiteX1" fmla="*/ 14286 w 114299"/>
                  <a:gd name="connsiteY1" fmla="*/ 119062 h 178594"/>
                  <a:gd name="connsiteX2" fmla="*/ 16669 w 114299"/>
                  <a:gd name="connsiteY2" fmla="*/ 159544 h 178594"/>
                  <a:gd name="connsiteX3" fmla="*/ 114299 w 114299"/>
                  <a:gd name="connsiteY3" fmla="*/ 178594 h 178594"/>
                  <a:gd name="connsiteX0" fmla="*/ 19050 w 114299"/>
                  <a:gd name="connsiteY0" fmla="*/ 0 h 178594"/>
                  <a:gd name="connsiteX1" fmla="*/ 16669 w 114299"/>
                  <a:gd name="connsiteY1" fmla="*/ 85724 h 178594"/>
                  <a:gd name="connsiteX2" fmla="*/ 16669 w 114299"/>
                  <a:gd name="connsiteY2" fmla="*/ 159544 h 178594"/>
                  <a:gd name="connsiteX3" fmla="*/ 114299 w 114299"/>
                  <a:gd name="connsiteY3" fmla="*/ 178594 h 178594"/>
                  <a:gd name="connsiteX0" fmla="*/ 8334 w 103583"/>
                  <a:gd name="connsiteY0" fmla="*/ 0 h 178594"/>
                  <a:gd name="connsiteX1" fmla="*/ 5953 w 103583"/>
                  <a:gd name="connsiteY1" fmla="*/ 85724 h 178594"/>
                  <a:gd name="connsiteX2" fmla="*/ 44053 w 103583"/>
                  <a:gd name="connsiteY2" fmla="*/ 159544 h 178594"/>
                  <a:gd name="connsiteX3" fmla="*/ 103583 w 103583"/>
                  <a:gd name="connsiteY3" fmla="*/ 178594 h 178594"/>
                  <a:gd name="connsiteX0" fmla="*/ 8334 w 103583"/>
                  <a:gd name="connsiteY0" fmla="*/ 0 h 178594"/>
                  <a:gd name="connsiteX1" fmla="*/ 5953 w 103583"/>
                  <a:gd name="connsiteY1" fmla="*/ 66674 h 178594"/>
                  <a:gd name="connsiteX2" fmla="*/ 44053 w 103583"/>
                  <a:gd name="connsiteY2" fmla="*/ 159544 h 178594"/>
                  <a:gd name="connsiteX3" fmla="*/ 103583 w 103583"/>
                  <a:gd name="connsiteY3" fmla="*/ 178594 h 178594"/>
                  <a:gd name="connsiteX0" fmla="*/ 8334 w 103583"/>
                  <a:gd name="connsiteY0" fmla="*/ 0 h 178594"/>
                  <a:gd name="connsiteX1" fmla="*/ 5953 w 103583"/>
                  <a:gd name="connsiteY1" fmla="*/ 66674 h 178594"/>
                  <a:gd name="connsiteX2" fmla="*/ 44053 w 103583"/>
                  <a:gd name="connsiteY2" fmla="*/ 150019 h 178594"/>
                  <a:gd name="connsiteX3" fmla="*/ 103583 w 103583"/>
                  <a:gd name="connsiteY3" fmla="*/ 178594 h 178594"/>
                  <a:gd name="connsiteX0" fmla="*/ 8334 w 127395"/>
                  <a:gd name="connsiteY0" fmla="*/ 0 h 171450"/>
                  <a:gd name="connsiteX1" fmla="*/ 5953 w 127395"/>
                  <a:gd name="connsiteY1" fmla="*/ 66674 h 171450"/>
                  <a:gd name="connsiteX2" fmla="*/ 44053 w 127395"/>
                  <a:gd name="connsiteY2" fmla="*/ 150019 h 171450"/>
                  <a:gd name="connsiteX3" fmla="*/ 127395 w 127395"/>
                  <a:gd name="connsiteY3" fmla="*/ 171450 h 171450"/>
                  <a:gd name="connsiteX0" fmla="*/ 8334 w 127395"/>
                  <a:gd name="connsiteY0" fmla="*/ 0 h 171450"/>
                  <a:gd name="connsiteX1" fmla="*/ 5953 w 127395"/>
                  <a:gd name="connsiteY1" fmla="*/ 66674 h 171450"/>
                  <a:gd name="connsiteX2" fmla="*/ 44053 w 127395"/>
                  <a:gd name="connsiteY2" fmla="*/ 150019 h 171450"/>
                  <a:gd name="connsiteX3" fmla="*/ 127395 w 127395"/>
                  <a:gd name="connsiteY3" fmla="*/ 171450 h 171450"/>
                  <a:gd name="connsiteX0" fmla="*/ 8334 w 92928"/>
                  <a:gd name="connsiteY0" fmla="*/ 0 h 171450"/>
                  <a:gd name="connsiteX1" fmla="*/ 5953 w 92928"/>
                  <a:gd name="connsiteY1" fmla="*/ 66674 h 171450"/>
                  <a:gd name="connsiteX2" fmla="*/ 44053 w 92928"/>
                  <a:gd name="connsiteY2" fmla="*/ 150019 h 171450"/>
                  <a:gd name="connsiteX3" fmla="*/ 92928 w 92928"/>
                  <a:gd name="connsiteY3" fmla="*/ 171450 h 171450"/>
                  <a:gd name="connsiteX0" fmla="*/ 8334 w 83858"/>
                  <a:gd name="connsiteY0" fmla="*/ 0 h 167515"/>
                  <a:gd name="connsiteX1" fmla="*/ 5953 w 83858"/>
                  <a:gd name="connsiteY1" fmla="*/ 66674 h 167515"/>
                  <a:gd name="connsiteX2" fmla="*/ 44053 w 83858"/>
                  <a:gd name="connsiteY2" fmla="*/ 150019 h 167515"/>
                  <a:gd name="connsiteX3" fmla="*/ 83858 w 83858"/>
                  <a:gd name="connsiteY3" fmla="*/ 167515 h 167515"/>
                  <a:gd name="connsiteX0" fmla="*/ 8514 w 84038"/>
                  <a:gd name="connsiteY0" fmla="*/ 20667 h 188182"/>
                  <a:gd name="connsiteX1" fmla="*/ 7435 w 84038"/>
                  <a:gd name="connsiteY1" fmla="*/ 11112 h 188182"/>
                  <a:gd name="connsiteX2" fmla="*/ 6133 w 84038"/>
                  <a:gd name="connsiteY2" fmla="*/ 87341 h 188182"/>
                  <a:gd name="connsiteX3" fmla="*/ 44233 w 84038"/>
                  <a:gd name="connsiteY3" fmla="*/ 170686 h 188182"/>
                  <a:gd name="connsiteX4" fmla="*/ 84038 w 84038"/>
                  <a:gd name="connsiteY4" fmla="*/ 188182 h 188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038" h="188182">
                    <a:moveTo>
                      <a:pt x="8514" y="20667"/>
                    </a:moveTo>
                    <a:cubicBezTo>
                      <a:pt x="8334" y="21042"/>
                      <a:pt x="7832" y="0"/>
                      <a:pt x="7435" y="11112"/>
                    </a:cubicBezTo>
                    <a:cubicBezTo>
                      <a:pt x="7038" y="22224"/>
                      <a:pt x="0" y="60745"/>
                      <a:pt x="6133" y="87341"/>
                    </a:cubicBezTo>
                    <a:cubicBezTo>
                      <a:pt x="12266" y="113937"/>
                      <a:pt x="8514" y="141714"/>
                      <a:pt x="44233" y="170686"/>
                    </a:cubicBezTo>
                    <a:lnTo>
                      <a:pt x="84038" y="188182"/>
                    </a:ln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Freeform 57"/>
              <p:cNvSpPr/>
              <p:nvPr userDrawn="1"/>
            </p:nvSpPr>
            <p:spPr>
              <a:xfrm flipH="1">
                <a:off x="8477670" y="5780967"/>
                <a:ext cx="31605" cy="64990"/>
              </a:xfrm>
              <a:custGeom>
                <a:avLst/>
                <a:gdLst>
                  <a:gd name="connsiteX0" fmla="*/ 2381 w 52387"/>
                  <a:gd name="connsiteY0" fmla="*/ 0 h 216694"/>
                  <a:gd name="connsiteX1" fmla="*/ 0 w 52387"/>
                  <a:gd name="connsiteY1" fmla="*/ 188119 h 216694"/>
                  <a:gd name="connsiteX2" fmla="*/ 52387 w 52387"/>
                  <a:gd name="connsiteY2" fmla="*/ 216694 h 216694"/>
                  <a:gd name="connsiteX0" fmla="*/ 2381 w 52387"/>
                  <a:gd name="connsiteY0" fmla="*/ 0 h 216694"/>
                  <a:gd name="connsiteX1" fmla="*/ 0 w 52387"/>
                  <a:gd name="connsiteY1" fmla="*/ 159544 h 216694"/>
                  <a:gd name="connsiteX2" fmla="*/ 52387 w 52387"/>
                  <a:gd name="connsiteY2" fmla="*/ 216694 h 216694"/>
                  <a:gd name="connsiteX0" fmla="*/ 2381 w 97630"/>
                  <a:gd name="connsiteY0" fmla="*/ 0 h 178594"/>
                  <a:gd name="connsiteX1" fmla="*/ 0 w 97630"/>
                  <a:gd name="connsiteY1" fmla="*/ 159544 h 178594"/>
                  <a:gd name="connsiteX2" fmla="*/ 97630 w 97630"/>
                  <a:gd name="connsiteY2" fmla="*/ 178594 h 178594"/>
                  <a:gd name="connsiteX0" fmla="*/ 19050 w 114299"/>
                  <a:gd name="connsiteY0" fmla="*/ 0 h 178594"/>
                  <a:gd name="connsiteX1" fmla="*/ 14286 w 114299"/>
                  <a:gd name="connsiteY1" fmla="*/ 119062 h 178594"/>
                  <a:gd name="connsiteX2" fmla="*/ 16669 w 114299"/>
                  <a:gd name="connsiteY2" fmla="*/ 159544 h 178594"/>
                  <a:gd name="connsiteX3" fmla="*/ 114299 w 114299"/>
                  <a:gd name="connsiteY3" fmla="*/ 178594 h 178594"/>
                  <a:gd name="connsiteX0" fmla="*/ 19050 w 114299"/>
                  <a:gd name="connsiteY0" fmla="*/ 0 h 178594"/>
                  <a:gd name="connsiteX1" fmla="*/ 16669 w 114299"/>
                  <a:gd name="connsiteY1" fmla="*/ 85724 h 178594"/>
                  <a:gd name="connsiteX2" fmla="*/ 16669 w 114299"/>
                  <a:gd name="connsiteY2" fmla="*/ 159544 h 178594"/>
                  <a:gd name="connsiteX3" fmla="*/ 114299 w 114299"/>
                  <a:gd name="connsiteY3" fmla="*/ 178594 h 178594"/>
                  <a:gd name="connsiteX0" fmla="*/ 8334 w 103583"/>
                  <a:gd name="connsiteY0" fmla="*/ 0 h 178594"/>
                  <a:gd name="connsiteX1" fmla="*/ 5953 w 103583"/>
                  <a:gd name="connsiteY1" fmla="*/ 85724 h 178594"/>
                  <a:gd name="connsiteX2" fmla="*/ 44053 w 103583"/>
                  <a:gd name="connsiteY2" fmla="*/ 159544 h 178594"/>
                  <a:gd name="connsiteX3" fmla="*/ 103583 w 103583"/>
                  <a:gd name="connsiteY3" fmla="*/ 178594 h 178594"/>
                  <a:gd name="connsiteX0" fmla="*/ 8334 w 103583"/>
                  <a:gd name="connsiteY0" fmla="*/ 0 h 178594"/>
                  <a:gd name="connsiteX1" fmla="*/ 5953 w 103583"/>
                  <a:gd name="connsiteY1" fmla="*/ 66674 h 178594"/>
                  <a:gd name="connsiteX2" fmla="*/ 44053 w 103583"/>
                  <a:gd name="connsiteY2" fmla="*/ 159544 h 178594"/>
                  <a:gd name="connsiteX3" fmla="*/ 103583 w 103583"/>
                  <a:gd name="connsiteY3" fmla="*/ 178594 h 178594"/>
                  <a:gd name="connsiteX0" fmla="*/ 8334 w 103583"/>
                  <a:gd name="connsiteY0" fmla="*/ 0 h 178594"/>
                  <a:gd name="connsiteX1" fmla="*/ 5953 w 103583"/>
                  <a:gd name="connsiteY1" fmla="*/ 66674 h 178594"/>
                  <a:gd name="connsiteX2" fmla="*/ 44053 w 103583"/>
                  <a:gd name="connsiteY2" fmla="*/ 150019 h 178594"/>
                  <a:gd name="connsiteX3" fmla="*/ 103583 w 103583"/>
                  <a:gd name="connsiteY3" fmla="*/ 178594 h 178594"/>
                  <a:gd name="connsiteX0" fmla="*/ 8334 w 127395"/>
                  <a:gd name="connsiteY0" fmla="*/ 0 h 171450"/>
                  <a:gd name="connsiteX1" fmla="*/ 5953 w 127395"/>
                  <a:gd name="connsiteY1" fmla="*/ 66674 h 171450"/>
                  <a:gd name="connsiteX2" fmla="*/ 44053 w 127395"/>
                  <a:gd name="connsiteY2" fmla="*/ 150019 h 171450"/>
                  <a:gd name="connsiteX3" fmla="*/ 127395 w 127395"/>
                  <a:gd name="connsiteY3" fmla="*/ 171450 h 171450"/>
                  <a:gd name="connsiteX0" fmla="*/ 8334 w 127395"/>
                  <a:gd name="connsiteY0" fmla="*/ 0 h 171450"/>
                  <a:gd name="connsiteX1" fmla="*/ 5953 w 127395"/>
                  <a:gd name="connsiteY1" fmla="*/ 66674 h 171450"/>
                  <a:gd name="connsiteX2" fmla="*/ 44053 w 127395"/>
                  <a:gd name="connsiteY2" fmla="*/ 150019 h 171450"/>
                  <a:gd name="connsiteX3" fmla="*/ 127395 w 127395"/>
                  <a:gd name="connsiteY3" fmla="*/ 171450 h 171450"/>
                  <a:gd name="connsiteX0" fmla="*/ 8334 w 92928"/>
                  <a:gd name="connsiteY0" fmla="*/ 0 h 171450"/>
                  <a:gd name="connsiteX1" fmla="*/ 5953 w 92928"/>
                  <a:gd name="connsiteY1" fmla="*/ 66674 h 171450"/>
                  <a:gd name="connsiteX2" fmla="*/ 44053 w 92928"/>
                  <a:gd name="connsiteY2" fmla="*/ 150019 h 171450"/>
                  <a:gd name="connsiteX3" fmla="*/ 92928 w 92928"/>
                  <a:gd name="connsiteY3" fmla="*/ 171450 h 171450"/>
                  <a:gd name="connsiteX0" fmla="*/ 8334 w 83858"/>
                  <a:gd name="connsiteY0" fmla="*/ 0 h 167515"/>
                  <a:gd name="connsiteX1" fmla="*/ 5953 w 83858"/>
                  <a:gd name="connsiteY1" fmla="*/ 66674 h 167515"/>
                  <a:gd name="connsiteX2" fmla="*/ 44053 w 83858"/>
                  <a:gd name="connsiteY2" fmla="*/ 150019 h 167515"/>
                  <a:gd name="connsiteX3" fmla="*/ 83858 w 83858"/>
                  <a:gd name="connsiteY3" fmla="*/ 167515 h 167515"/>
                  <a:gd name="connsiteX0" fmla="*/ 8514 w 84038"/>
                  <a:gd name="connsiteY0" fmla="*/ 20667 h 188182"/>
                  <a:gd name="connsiteX1" fmla="*/ 7435 w 84038"/>
                  <a:gd name="connsiteY1" fmla="*/ 11112 h 188182"/>
                  <a:gd name="connsiteX2" fmla="*/ 6133 w 84038"/>
                  <a:gd name="connsiteY2" fmla="*/ 87341 h 188182"/>
                  <a:gd name="connsiteX3" fmla="*/ 44233 w 84038"/>
                  <a:gd name="connsiteY3" fmla="*/ 170686 h 188182"/>
                  <a:gd name="connsiteX4" fmla="*/ 84038 w 84038"/>
                  <a:gd name="connsiteY4" fmla="*/ 188182 h 188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038" h="188182">
                    <a:moveTo>
                      <a:pt x="8514" y="20667"/>
                    </a:moveTo>
                    <a:cubicBezTo>
                      <a:pt x="8334" y="21042"/>
                      <a:pt x="7832" y="0"/>
                      <a:pt x="7435" y="11112"/>
                    </a:cubicBezTo>
                    <a:cubicBezTo>
                      <a:pt x="7038" y="22224"/>
                      <a:pt x="0" y="60745"/>
                      <a:pt x="6133" y="87341"/>
                    </a:cubicBezTo>
                    <a:cubicBezTo>
                      <a:pt x="12266" y="113937"/>
                      <a:pt x="8514" y="141714"/>
                      <a:pt x="44233" y="170686"/>
                    </a:cubicBezTo>
                    <a:lnTo>
                      <a:pt x="84038" y="188182"/>
                    </a:ln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0" name="Freeform 24"/>
            <p:cNvSpPr>
              <a:spLocks/>
            </p:cNvSpPr>
            <p:nvPr userDrawn="1"/>
          </p:nvSpPr>
          <p:spPr bwMode="auto">
            <a:xfrm>
              <a:off x="7833652" y="5792136"/>
              <a:ext cx="41087" cy="66644"/>
            </a:xfrm>
            <a:custGeom>
              <a:avLst/>
              <a:gdLst/>
              <a:ahLst/>
              <a:cxnLst>
                <a:cxn ang="0">
                  <a:pos x="0" y="29"/>
                </a:cxn>
                <a:cxn ang="0">
                  <a:pos x="18" y="0"/>
                </a:cxn>
              </a:cxnLst>
              <a:rect l="0" t="0" r="r" b="b"/>
              <a:pathLst>
                <a:path w="18" h="29">
                  <a:moveTo>
                    <a:pt x="0" y="29"/>
                  </a:moveTo>
                  <a:cubicBezTo>
                    <a:pt x="1" y="15"/>
                    <a:pt x="8" y="4"/>
                    <a:pt x="18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" name="Freeform 25"/>
            <p:cNvSpPr>
              <a:spLocks/>
            </p:cNvSpPr>
            <p:nvPr userDrawn="1"/>
          </p:nvSpPr>
          <p:spPr bwMode="auto">
            <a:xfrm>
              <a:off x="7772023" y="5858780"/>
              <a:ext cx="96395" cy="239599"/>
            </a:xfrm>
            <a:custGeom>
              <a:avLst/>
              <a:gdLst>
                <a:gd name="connsiteX0" fmla="*/ 6429 w 10000"/>
                <a:gd name="connsiteY0" fmla="*/ 0 h 8863"/>
                <a:gd name="connsiteX1" fmla="*/ 6429 w 10000"/>
                <a:gd name="connsiteY1" fmla="*/ 171 h 8863"/>
                <a:gd name="connsiteX2" fmla="*/ 10000 w 10000"/>
                <a:gd name="connsiteY2" fmla="*/ 2735 h 8863"/>
                <a:gd name="connsiteX3" fmla="*/ 0 w 10000"/>
                <a:gd name="connsiteY3" fmla="*/ 8863 h 8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8863">
                  <a:moveTo>
                    <a:pt x="6429" y="0"/>
                  </a:moveTo>
                  <a:lnTo>
                    <a:pt x="6429" y="171"/>
                  </a:lnTo>
                  <a:cubicBezTo>
                    <a:pt x="6429" y="1197"/>
                    <a:pt x="8333" y="2222"/>
                    <a:pt x="10000" y="2735"/>
                  </a:cubicBezTo>
                  <a:cubicBezTo>
                    <a:pt x="2381" y="3504"/>
                    <a:pt x="0" y="5359"/>
                    <a:pt x="0" y="8863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2" name="Freeform 26"/>
            <p:cNvSpPr>
              <a:spLocks/>
            </p:cNvSpPr>
            <p:nvPr userDrawn="1"/>
          </p:nvSpPr>
          <p:spPr bwMode="auto">
            <a:xfrm>
              <a:off x="7974296" y="5961918"/>
              <a:ext cx="45827" cy="130114"/>
            </a:xfrm>
            <a:custGeom>
              <a:avLst/>
              <a:gdLst>
                <a:gd name="connsiteX0" fmla="*/ 0 w 10514"/>
                <a:gd name="connsiteY0" fmla="*/ 0 h 11311"/>
                <a:gd name="connsiteX1" fmla="*/ 10514 w 10514"/>
                <a:gd name="connsiteY1" fmla="*/ 11311 h 11311"/>
                <a:gd name="connsiteX0" fmla="*/ 0 w 10000"/>
                <a:gd name="connsiteY0" fmla="*/ 0 h 10188"/>
                <a:gd name="connsiteX1" fmla="*/ 10000 w 10000"/>
                <a:gd name="connsiteY1" fmla="*/ 10188 h 1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00" h="10188">
                  <a:moveTo>
                    <a:pt x="0" y="0"/>
                  </a:moveTo>
                  <a:cubicBezTo>
                    <a:pt x="6000" y="2364"/>
                    <a:pt x="9000" y="6006"/>
                    <a:pt x="10000" y="10188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3" name="Freeform 27"/>
            <p:cNvSpPr>
              <a:spLocks/>
            </p:cNvSpPr>
            <p:nvPr userDrawn="1"/>
          </p:nvSpPr>
          <p:spPr bwMode="auto">
            <a:xfrm>
              <a:off x="7874739" y="5788963"/>
              <a:ext cx="74273" cy="38082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9" y="0"/>
                </a:cxn>
                <a:cxn ang="0">
                  <a:pos x="32" y="16"/>
                </a:cxn>
              </a:cxnLst>
              <a:rect l="0" t="0" r="r" b="b"/>
              <a:pathLst>
                <a:path w="32" h="16">
                  <a:moveTo>
                    <a:pt x="0" y="1"/>
                  </a:moveTo>
                  <a:cubicBezTo>
                    <a:pt x="3" y="0"/>
                    <a:pt x="6" y="0"/>
                    <a:pt x="9" y="0"/>
                  </a:cubicBezTo>
                  <a:cubicBezTo>
                    <a:pt x="19" y="0"/>
                    <a:pt x="28" y="6"/>
                    <a:pt x="32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4" name="Freeform 28"/>
            <p:cNvSpPr>
              <a:spLocks/>
            </p:cNvSpPr>
            <p:nvPr userDrawn="1"/>
          </p:nvSpPr>
          <p:spPr bwMode="auto">
            <a:xfrm>
              <a:off x="7923727" y="5827045"/>
              <a:ext cx="50568" cy="134873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5" y="16"/>
                </a:cxn>
                <a:cxn ang="0">
                  <a:pos x="0" y="46"/>
                </a:cxn>
                <a:cxn ang="0">
                  <a:pos x="22" y="59"/>
                </a:cxn>
              </a:cxnLst>
              <a:rect l="0" t="0" r="r" b="b"/>
              <a:pathLst>
                <a:path w="22" h="59">
                  <a:moveTo>
                    <a:pt x="11" y="0"/>
                  </a:moveTo>
                  <a:cubicBezTo>
                    <a:pt x="13" y="4"/>
                    <a:pt x="15" y="10"/>
                    <a:pt x="15" y="16"/>
                  </a:cubicBezTo>
                  <a:cubicBezTo>
                    <a:pt x="15" y="28"/>
                    <a:pt x="7" y="40"/>
                    <a:pt x="0" y="46"/>
                  </a:cubicBezTo>
                  <a:cubicBezTo>
                    <a:pt x="9" y="49"/>
                    <a:pt x="16" y="53"/>
                    <a:pt x="22" y="59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47" name="Line 65"/>
          <p:cNvSpPr>
            <a:spLocks noChangeShapeType="1"/>
          </p:cNvSpPr>
          <p:nvPr userDrawn="1"/>
        </p:nvSpPr>
        <p:spPr bwMode="auto">
          <a:xfrm>
            <a:off x="8840788" y="6097588"/>
            <a:ext cx="303212" cy="0"/>
          </a:xfrm>
          <a:prstGeom prst="line">
            <a:avLst/>
          </a:prstGeom>
          <a:noFill/>
          <a:ln w="19050" cap="rnd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48" name="Freeform 59"/>
          <p:cNvSpPr/>
          <p:nvPr userDrawn="1"/>
        </p:nvSpPr>
        <p:spPr>
          <a:xfrm flipH="1" flipV="1">
            <a:off x="438150" y="4532313"/>
            <a:ext cx="6040438" cy="1663700"/>
          </a:xfrm>
          <a:custGeom>
            <a:avLst/>
            <a:gdLst>
              <a:gd name="connsiteX0" fmla="*/ 8521700 w 8521700"/>
              <a:gd name="connsiteY0" fmla="*/ 3124200 h 4356100"/>
              <a:gd name="connsiteX1" fmla="*/ 8521700 w 8521700"/>
              <a:gd name="connsiteY1" fmla="*/ 203200 h 4356100"/>
              <a:gd name="connsiteX2" fmla="*/ 8318500 w 8521700"/>
              <a:gd name="connsiteY2" fmla="*/ 0 h 4356100"/>
              <a:gd name="connsiteX3" fmla="*/ 228600 w 8521700"/>
              <a:gd name="connsiteY3" fmla="*/ 0 h 4356100"/>
              <a:gd name="connsiteX4" fmla="*/ 0 w 8521700"/>
              <a:gd name="connsiteY4" fmla="*/ 215900 h 4356100"/>
              <a:gd name="connsiteX5" fmla="*/ 0 w 8521700"/>
              <a:gd name="connsiteY5" fmla="*/ 4356100 h 4356100"/>
              <a:gd name="connsiteX6" fmla="*/ 6578600 w 8521700"/>
              <a:gd name="connsiteY6" fmla="*/ 4318000 h 4356100"/>
              <a:gd name="connsiteX0" fmla="*/ 8532812 w 8532812"/>
              <a:gd name="connsiteY0" fmla="*/ 3124200 h 4318000"/>
              <a:gd name="connsiteX1" fmla="*/ 8532812 w 8532812"/>
              <a:gd name="connsiteY1" fmla="*/ 203200 h 4318000"/>
              <a:gd name="connsiteX2" fmla="*/ 8329612 w 8532812"/>
              <a:gd name="connsiteY2" fmla="*/ 0 h 4318000"/>
              <a:gd name="connsiteX3" fmla="*/ 239712 w 8532812"/>
              <a:gd name="connsiteY3" fmla="*/ 0 h 4318000"/>
              <a:gd name="connsiteX4" fmla="*/ 11112 w 8532812"/>
              <a:gd name="connsiteY4" fmla="*/ 215900 h 4318000"/>
              <a:gd name="connsiteX5" fmla="*/ 0 w 8532812"/>
              <a:gd name="connsiteY5" fmla="*/ 4318000 h 4318000"/>
              <a:gd name="connsiteX6" fmla="*/ 6589712 w 8532812"/>
              <a:gd name="connsiteY6" fmla="*/ 4318000 h 4318000"/>
              <a:gd name="connsiteX0" fmla="*/ 8532812 w 8532812"/>
              <a:gd name="connsiteY0" fmla="*/ 3125893 h 4319693"/>
              <a:gd name="connsiteX1" fmla="*/ 8532812 w 8532812"/>
              <a:gd name="connsiteY1" fmla="*/ 204893 h 4319693"/>
              <a:gd name="connsiteX2" fmla="*/ 8329612 w 8532812"/>
              <a:gd name="connsiteY2" fmla="*/ 1693 h 4319693"/>
              <a:gd name="connsiteX3" fmla="*/ 239712 w 8532812"/>
              <a:gd name="connsiteY3" fmla="*/ 1693 h 4319693"/>
              <a:gd name="connsiteX4" fmla="*/ 11112 w 8532812"/>
              <a:gd name="connsiteY4" fmla="*/ 217593 h 4319693"/>
              <a:gd name="connsiteX5" fmla="*/ 0 w 8532812"/>
              <a:gd name="connsiteY5" fmla="*/ 4319693 h 4319693"/>
              <a:gd name="connsiteX6" fmla="*/ 6589712 w 8532812"/>
              <a:gd name="connsiteY6" fmla="*/ 4319693 h 4319693"/>
              <a:gd name="connsiteX0" fmla="*/ 8532812 w 8532812"/>
              <a:gd name="connsiteY0" fmla="*/ 3125893 h 4319693"/>
              <a:gd name="connsiteX1" fmla="*/ 8532812 w 8532812"/>
              <a:gd name="connsiteY1" fmla="*/ 204893 h 4319693"/>
              <a:gd name="connsiteX2" fmla="*/ 8329612 w 8532812"/>
              <a:gd name="connsiteY2" fmla="*/ 1693 h 4319693"/>
              <a:gd name="connsiteX3" fmla="*/ 239712 w 8532812"/>
              <a:gd name="connsiteY3" fmla="*/ 1693 h 4319693"/>
              <a:gd name="connsiteX4" fmla="*/ 11112 w 8532812"/>
              <a:gd name="connsiteY4" fmla="*/ 217593 h 4319693"/>
              <a:gd name="connsiteX5" fmla="*/ 0 w 8532812"/>
              <a:gd name="connsiteY5" fmla="*/ 4319693 h 4319693"/>
              <a:gd name="connsiteX6" fmla="*/ 6589712 w 8532812"/>
              <a:gd name="connsiteY6" fmla="*/ 4319693 h 4319693"/>
              <a:gd name="connsiteX0" fmla="*/ 8532812 w 8543819"/>
              <a:gd name="connsiteY0" fmla="*/ 3141768 h 4335568"/>
              <a:gd name="connsiteX1" fmla="*/ 8532812 w 8543819"/>
              <a:gd name="connsiteY1" fmla="*/ 220768 h 4335568"/>
              <a:gd name="connsiteX2" fmla="*/ 8329612 w 8543819"/>
              <a:gd name="connsiteY2" fmla="*/ 17568 h 4335568"/>
              <a:gd name="connsiteX3" fmla="*/ 239712 w 8543819"/>
              <a:gd name="connsiteY3" fmla="*/ 17568 h 4335568"/>
              <a:gd name="connsiteX4" fmla="*/ 11112 w 8543819"/>
              <a:gd name="connsiteY4" fmla="*/ 233468 h 4335568"/>
              <a:gd name="connsiteX5" fmla="*/ 0 w 8543819"/>
              <a:gd name="connsiteY5" fmla="*/ 4335568 h 4335568"/>
              <a:gd name="connsiteX6" fmla="*/ 6589712 w 8543819"/>
              <a:gd name="connsiteY6" fmla="*/ 4335568 h 4335568"/>
              <a:gd name="connsiteX0" fmla="*/ 8582660 w 8593667"/>
              <a:gd name="connsiteY0" fmla="*/ 3163147 h 4356947"/>
              <a:gd name="connsiteX1" fmla="*/ 8582660 w 8593667"/>
              <a:gd name="connsiteY1" fmla="*/ 242147 h 4356947"/>
              <a:gd name="connsiteX2" fmla="*/ 8379460 w 8593667"/>
              <a:gd name="connsiteY2" fmla="*/ 38947 h 4356947"/>
              <a:gd name="connsiteX3" fmla="*/ 289560 w 8593667"/>
              <a:gd name="connsiteY3" fmla="*/ 38947 h 4356947"/>
              <a:gd name="connsiteX4" fmla="*/ 60960 w 8593667"/>
              <a:gd name="connsiteY4" fmla="*/ 254847 h 4356947"/>
              <a:gd name="connsiteX5" fmla="*/ 49848 w 8593667"/>
              <a:gd name="connsiteY5" fmla="*/ 4356947 h 4356947"/>
              <a:gd name="connsiteX6" fmla="*/ 6639560 w 8593667"/>
              <a:gd name="connsiteY6" fmla="*/ 4356947 h 4356947"/>
              <a:gd name="connsiteX0" fmla="*/ 8582660 w 8593667"/>
              <a:gd name="connsiteY0" fmla="*/ 3163147 h 4356947"/>
              <a:gd name="connsiteX1" fmla="*/ 8582660 w 8593667"/>
              <a:gd name="connsiteY1" fmla="*/ 242147 h 4356947"/>
              <a:gd name="connsiteX2" fmla="*/ 8379460 w 8593667"/>
              <a:gd name="connsiteY2" fmla="*/ 38947 h 4356947"/>
              <a:gd name="connsiteX3" fmla="*/ 289560 w 8593667"/>
              <a:gd name="connsiteY3" fmla="*/ 38947 h 4356947"/>
              <a:gd name="connsiteX4" fmla="*/ 60960 w 8593667"/>
              <a:gd name="connsiteY4" fmla="*/ 254847 h 4356947"/>
              <a:gd name="connsiteX5" fmla="*/ 49848 w 8593667"/>
              <a:gd name="connsiteY5" fmla="*/ 4356947 h 4356947"/>
              <a:gd name="connsiteX6" fmla="*/ 6639560 w 8593667"/>
              <a:gd name="connsiteY6" fmla="*/ 4356947 h 4356947"/>
              <a:gd name="connsiteX0" fmla="*/ 8566468 w 8577475"/>
              <a:gd name="connsiteY0" fmla="*/ 3217122 h 4410922"/>
              <a:gd name="connsiteX1" fmla="*/ 8566468 w 8577475"/>
              <a:gd name="connsiteY1" fmla="*/ 296122 h 4410922"/>
              <a:gd name="connsiteX2" fmla="*/ 8363268 w 8577475"/>
              <a:gd name="connsiteY2" fmla="*/ 92922 h 4410922"/>
              <a:gd name="connsiteX3" fmla="*/ 273368 w 8577475"/>
              <a:gd name="connsiteY3" fmla="*/ 92922 h 4410922"/>
              <a:gd name="connsiteX4" fmla="*/ 44768 w 8577475"/>
              <a:gd name="connsiteY4" fmla="*/ 308822 h 4410922"/>
              <a:gd name="connsiteX5" fmla="*/ 33656 w 8577475"/>
              <a:gd name="connsiteY5" fmla="*/ 4410922 h 4410922"/>
              <a:gd name="connsiteX6" fmla="*/ 6623368 w 8577475"/>
              <a:gd name="connsiteY6" fmla="*/ 4410922 h 4410922"/>
              <a:gd name="connsiteX0" fmla="*/ 8566468 w 8577475"/>
              <a:gd name="connsiteY0" fmla="*/ 3217122 h 4410922"/>
              <a:gd name="connsiteX1" fmla="*/ 8566468 w 8577475"/>
              <a:gd name="connsiteY1" fmla="*/ 296122 h 4410922"/>
              <a:gd name="connsiteX2" fmla="*/ 8363268 w 8577475"/>
              <a:gd name="connsiteY2" fmla="*/ 92922 h 4410922"/>
              <a:gd name="connsiteX3" fmla="*/ 273368 w 8577475"/>
              <a:gd name="connsiteY3" fmla="*/ 92922 h 4410922"/>
              <a:gd name="connsiteX4" fmla="*/ 44768 w 8577475"/>
              <a:gd name="connsiteY4" fmla="*/ 308822 h 4410922"/>
              <a:gd name="connsiteX5" fmla="*/ 33656 w 8577475"/>
              <a:gd name="connsiteY5" fmla="*/ 4410922 h 4410922"/>
              <a:gd name="connsiteX6" fmla="*/ 6623368 w 8577475"/>
              <a:gd name="connsiteY6" fmla="*/ 4410922 h 4410922"/>
              <a:gd name="connsiteX0" fmla="*/ 8577580 w 8588587"/>
              <a:gd name="connsiteY0" fmla="*/ 3174259 h 4368059"/>
              <a:gd name="connsiteX1" fmla="*/ 8577580 w 8588587"/>
              <a:gd name="connsiteY1" fmla="*/ 253259 h 4368059"/>
              <a:gd name="connsiteX2" fmla="*/ 8374380 w 8588587"/>
              <a:gd name="connsiteY2" fmla="*/ 50059 h 4368059"/>
              <a:gd name="connsiteX3" fmla="*/ 284480 w 8588587"/>
              <a:gd name="connsiteY3" fmla="*/ 50059 h 4368059"/>
              <a:gd name="connsiteX4" fmla="*/ 44768 w 8588587"/>
              <a:gd name="connsiteY4" fmla="*/ 308822 h 4368059"/>
              <a:gd name="connsiteX5" fmla="*/ 44768 w 8588587"/>
              <a:gd name="connsiteY5" fmla="*/ 4368059 h 4368059"/>
              <a:gd name="connsiteX6" fmla="*/ 6634480 w 8588587"/>
              <a:gd name="connsiteY6" fmla="*/ 4368059 h 4368059"/>
              <a:gd name="connsiteX0" fmla="*/ 8553768 w 8564775"/>
              <a:gd name="connsiteY0" fmla="*/ 3164734 h 4358534"/>
              <a:gd name="connsiteX1" fmla="*/ 8553768 w 8564775"/>
              <a:gd name="connsiteY1" fmla="*/ 243734 h 4358534"/>
              <a:gd name="connsiteX2" fmla="*/ 8350568 w 8564775"/>
              <a:gd name="connsiteY2" fmla="*/ 40534 h 4358534"/>
              <a:gd name="connsiteX3" fmla="*/ 260668 w 8564775"/>
              <a:gd name="connsiteY3" fmla="*/ 40534 h 4358534"/>
              <a:gd name="connsiteX4" fmla="*/ 20956 w 8564775"/>
              <a:gd name="connsiteY4" fmla="*/ 299297 h 4358534"/>
              <a:gd name="connsiteX5" fmla="*/ 20956 w 8564775"/>
              <a:gd name="connsiteY5" fmla="*/ 4358534 h 4358534"/>
              <a:gd name="connsiteX6" fmla="*/ 6610668 w 8564775"/>
              <a:gd name="connsiteY6" fmla="*/ 4358534 h 4358534"/>
              <a:gd name="connsiteX0" fmla="*/ 8553768 w 8564775"/>
              <a:gd name="connsiteY0" fmla="*/ 3164734 h 4358534"/>
              <a:gd name="connsiteX1" fmla="*/ 8553768 w 8564775"/>
              <a:gd name="connsiteY1" fmla="*/ 243734 h 4358534"/>
              <a:gd name="connsiteX2" fmla="*/ 8350568 w 8564775"/>
              <a:gd name="connsiteY2" fmla="*/ 40534 h 4358534"/>
              <a:gd name="connsiteX3" fmla="*/ 260668 w 8564775"/>
              <a:gd name="connsiteY3" fmla="*/ 40534 h 4358534"/>
              <a:gd name="connsiteX4" fmla="*/ 20956 w 8564775"/>
              <a:gd name="connsiteY4" fmla="*/ 299297 h 4358534"/>
              <a:gd name="connsiteX5" fmla="*/ 20956 w 8564775"/>
              <a:gd name="connsiteY5" fmla="*/ 4302179 h 4358534"/>
              <a:gd name="connsiteX6" fmla="*/ 20956 w 8564775"/>
              <a:gd name="connsiteY6" fmla="*/ 4358534 h 4358534"/>
              <a:gd name="connsiteX7" fmla="*/ 6610668 w 8564775"/>
              <a:gd name="connsiteY7" fmla="*/ 4358534 h 4358534"/>
              <a:gd name="connsiteX0" fmla="*/ 8553768 w 8564775"/>
              <a:gd name="connsiteY0" fmla="*/ 3164734 h 4358534"/>
              <a:gd name="connsiteX1" fmla="*/ 8553768 w 8564775"/>
              <a:gd name="connsiteY1" fmla="*/ 243734 h 4358534"/>
              <a:gd name="connsiteX2" fmla="*/ 8350568 w 8564775"/>
              <a:gd name="connsiteY2" fmla="*/ 40534 h 4358534"/>
              <a:gd name="connsiteX3" fmla="*/ 260668 w 8564775"/>
              <a:gd name="connsiteY3" fmla="*/ 40534 h 4358534"/>
              <a:gd name="connsiteX4" fmla="*/ 20956 w 8564775"/>
              <a:gd name="connsiteY4" fmla="*/ 299297 h 4358534"/>
              <a:gd name="connsiteX5" fmla="*/ 20956 w 8564775"/>
              <a:gd name="connsiteY5" fmla="*/ 4302179 h 4358534"/>
              <a:gd name="connsiteX6" fmla="*/ 20956 w 8564775"/>
              <a:gd name="connsiteY6" fmla="*/ 4358534 h 4358534"/>
              <a:gd name="connsiteX7" fmla="*/ 78106 w 8564775"/>
              <a:gd name="connsiteY7" fmla="*/ 4356948 h 4358534"/>
              <a:gd name="connsiteX8" fmla="*/ 6610668 w 8564775"/>
              <a:gd name="connsiteY8" fmla="*/ 4358534 h 4358534"/>
              <a:gd name="connsiteX0" fmla="*/ 8553768 w 8564775"/>
              <a:gd name="connsiteY0" fmla="*/ 3164734 h 4358534"/>
              <a:gd name="connsiteX1" fmla="*/ 8553768 w 8564775"/>
              <a:gd name="connsiteY1" fmla="*/ 243734 h 4358534"/>
              <a:gd name="connsiteX2" fmla="*/ 8350568 w 8564775"/>
              <a:gd name="connsiteY2" fmla="*/ 40534 h 4358534"/>
              <a:gd name="connsiteX3" fmla="*/ 260668 w 8564775"/>
              <a:gd name="connsiteY3" fmla="*/ 40534 h 4358534"/>
              <a:gd name="connsiteX4" fmla="*/ 20956 w 8564775"/>
              <a:gd name="connsiteY4" fmla="*/ 299297 h 4358534"/>
              <a:gd name="connsiteX5" fmla="*/ 20956 w 8564775"/>
              <a:gd name="connsiteY5" fmla="*/ 4302179 h 4358534"/>
              <a:gd name="connsiteX6" fmla="*/ 78106 w 8564775"/>
              <a:gd name="connsiteY6" fmla="*/ 4356948 h 4358534"/>
              <a:gd name="connsiteX7" fmla="*/ 6610668 w 8564775"/>
              <a:gd name="connsiteY7" fmla="*/ 4358534 h 4358534"/>
              <a:gd name="connsiteX0" fmla="*/ 8553768 w 8564775"/>
              <a:gd name="connsiteY0" fmla="*/ 3164734 h 4389492"/>
              <a:gd name="connsiteX1" fmla="*/ 8553768 w 8564775"/>
              <a:gd name="connsiteY1" fmla="*/ 243734 h 4389492"/>
              <a:gd name="connsiteX2" fmla="*/ 8350568 w 8564775"/>
              <a:gd name="connsiteY2" fmla="*/ 40534 h 4389492"/>
              <a:gd name="connsiteX3" fmla="*/ 260668 w 8564775"/>
              <a:gd name="connsiteY3" fmla="*/ 40534 h 4389492"/>
              <a:gd name="connsiteX4" fmla="*/ 20956 w 8564775"/>
              <a:gd name="connsiteY4" fmla="*/ 299297 h 4389492"/>
              <a:gd name="connsiteX5" fmla="*/ 20956 w 8564775"/>
              <a:gd name="connsiteY5" fmla="*/ 4302179 h 4389492"/>
              <a:gd name="connsiteX6" fmla="*/ 78106 w 8564775"/>
              <a:gd name="connsiteY6" fmla="*/ 4356948 h 4389492"/>
              <a:gd name="connsiteX7" fmla="*/ 6610668 w 8564775"/>
              <a:gd name="connsiteY7" fmla="*/ 4358534 h 4389492"/>
              <a:gd name="connsiteX0" fmla="*/ 8553768 w 8564775"/>
              <a:gd name="connsiteY0" fmla="*/ 3164734 h 4358534"/>
              <a:gd name="connsiteX1" fmla="*/ 8553768 w 8564775"/>
              <a:gd name="connsiteY1" fmla="*/ 243734 h 4358534"/>
              <a:gd name="connsiteX2" fmla="*/ 8350568 w 8564775"/>
              <a:gd name="connsiteY2" fmla="*/ 40534 h 4358534"/>
              <a:gd name="connsiteX3" fmla="*/ 260668 w 8564775"/>
              <a:gd name="connsiteY3" fmla="*/ 40534 h 4358534"/>
              <a:gd name="connsiteX4" fmla="*/ 20956 w 8564775"/>
              <a:gd name="connsiteY4" fmla="*/ 299297 h 4358534"/>
              <a:gd name="connsiteX5" fmla="*/ 20956 w 8564775"/>
              <a:gd name="connsiteY5" fmla="*/ 4256935 h 4358534"/>
              <a:gd name="connsiteX6" fmla="*/ 78106 w 8564775"/>
              <a:gd name="connsiteY6" fmla="*/ 4356948 h 4358534"/>
              <a:gd name="connsiteX7" fmla="*/ 6610668 w 8564775"/>
              <a:gd name="connsiteY7" fmla="*/ 4358534 h 4358534"/>
              <a:gd name="connsiteX0" fmla="*/ 8553768 w 8564775"/>
              <a:gd name="connsiteY0" fmla="*/ 3164734 h 4358535"/>
              <a:gd name="connsiteX1" fmla="*/ 8553768 w 8564775"/>
              <a:gd name="connsiteY1" fmla="*/ 243734 h 4358535"/>
              <a:gd name="connsiteX2" fmla="*/ 8350568 w 8564775"/>
              <a:gd name="connsiteY2" fmla="*/ 40534 h 4358535"/>
              <a:gd name="connsiteX3" fmla="*/ 260668 w 8564775"/>
              <a:gd name="connsiteY3" fmla="*/ 40534 h 4358535"/>
              <a:gd name="connsiteX4" fmla="*/ 20956 w 8564775"/>
              <a:gd name="connsiteY4" fmla="*/ 299297 h 4358535"/>
              <a:gd name="connsiteX5" fmla="*/ 20956 w 8564775"/>
              <a:gd name="connsiteY5" fmla="*/ 4256935 h 4358535"/>
              <a:gd name="connsiteX6" fmla="*/ 113825 w 8564775"/>
              <a:gd name="connsiteY6" fmla="*/ 4358535 h 4358535"/>
              <a:gd name="connsiteX7" fmla="*/ 6610668 w 8564775"/>
              <a:gd name="connsiteY7" fmla="*/ 4358534 h 4358535"/>
              <a:gd name="connsiteX0" fmla="*/ 8553768 w 8564775"/>
              <a:gd name="connsiteY0" fmla="*/ 3164734 h 4367267"/>
              <a:gd name="connsiteX1" fmla="*/ 8553768 w 8564775"/>
              <a:gd name="connsiteY1" fmla="*/ 243734 h 4367267"/>
              <a:gd name="connsiteX2" fmla="*/ 8350568 w 8564775"/>
              <a:gd name="connsiteY2" fmla="*/ 40534 h 4367267"/>
              <a:gd name="connsiteX3" fmla="*/ 260668 w 8564775"/>
              <a:gd name="connsiteY3" fmla="*/ 40534 h 4367267"/>
              <a:gd name="connsiteX4" fmla="*/ 20956 w 8564775"/>
              <a:gd name="connsiteY4" fmla="*/ 299297 h 4367267"/>
              <a:gd name="connsiteX5" fmla="*/ 20956 w 8564775"/>
              <a:gd name="connsiteY5" fmla="*/ 4256935 h 4367267"/>
              <a:gd name="connsiteX6" fmla="*/ 113825 w 8564775"/>
              <a:gd name="connsiteY6" fmla="*/ 4358535 h 4367267"/>
              <a:gd name="connsiteX7" fmla="*/ 6610668 w 8564775"/>
              <a:gd name="connsiteY7" fmla="*/ 4358534 h 4367267"/>
              <a:gd name="connsiteX0" fmla="*/ 8553768 w 8564775"/>
              <a:gd name="connsiteY0" fmla="*/ 3164734 h 4367267"/>
              <a:gd name="connsiteX1" fmla="*/ 8553768 w 8564775"/>
              <a:gd name="connsiteY1" fmla="*/ 243734 h 4367267"/>
              <a:gd name="connsiteX2" fmla="*/ 8350568 w 8564775"/>
              <a:gd name="connsiteY2" fmla="*/ 40534 h 4367267"/>
              <a:gd name="connsiteX3" fmla="*/ 167799 w 8564775"/>
              <a:gd name="connsiteY3" fmla="*/ 43710 h 4367267"/>
              <a:gd name="connsiteX4" fmla="*/ 20956 w 8564775"/>
              <a:gd name="connsiteY4" fmla="*/ 299297 h 4367267"/>
              <a:gd name="connsiteX5" fmla="*/ 20956 w 8564775"/>
              <a:gd name="connsiteY5" fmla="*/ 4256935 h 4367267"/>
              <a:gd name="connsiteX6" fmla="*/ 113825 w 8564775"/>
              <a:gd name="connsiteY6" fmla="*/ 4358535 h 4367267"/>
              <a:gd name="connsiteX7" fmla="*/ 6610668 w 8564775"/>
              <a:gd name="connsiteY7" fmla="*/ 4358534 h 4367267"/>
              <a:gd name="connsiteX0" fmla="*/ 8553768 w 8564775"/>
              <a:gd name="connsiteY0" fmla="*/ 3309991 h 4512524"/>
              <a:gd name="connsiteX1" fmla="*/ 8553768 w 8564775"/>
              <a:gd name="connsiteY1" fmla="*/ 388991 h 4512524"/>
              <a:gd name="connsiteX2" fmla="*/ 8350568 w 8564775"/>
              <a:gd name="connsiteY2" fmla="*/ 185791 h 4512524"/>
              <a:gd name="connsiteX3" fmla="*/ 167799 w 8564775"/>
              <a:gd name="connsiteY3" fmla="*/ 188967 h 4512524"/>
              <a:gd name="connsiteX4" fmla="*/ 20956 w 8564775"/>
              <a:gd name="connsiteY4" fmla="*/ 299297 h 4512524"/>
              <a:gd name="connsiteX5" fmla="*/ 20956 w 8564775"/>
              <a:gd name="connsiteY5" fmla="*/ 4402192 h 4512524"/>
              <a:gd name="connsiteX6" fmla="*/ 113825 w 8564775"/>
              <a:gd name="connsiteY6" fmla="*/ 4503792 h 4512524"/>
              <a:gd name="connsiteX7" fmla="*/ 6610668 w 8564775"/>
              <a:gd name="connsiteY7" fmla="*/ 4503791 h 4512524"/>
              <a:gd name="connsiteX0" fmla="*/ 8553768 w 8564775"/>
              <a:gd name="connsiteY0" fmla="*/ 3343329 h 4545862"/>
              <a:gd name="connsiteX1" fmla="*/ 8553768 w 8564775"/>
              <a:gd name="connsiteY1" fmla="*/ 422329 h 4545862"/>
              <a:gd name="connsiteX2" fmla="*/ 8350568 w 8564775"/>
              <a:gd name="connsiteY2" fmla="*/ 219129 h 4545862"/>
              <a:gd name="connsiteX3" fmla="*/ 167799 w 8564775"/>
              <a:gd name="connsiteY3" fmla="*/ 222305 h 4545862"/>
              <a:gd name="connsiteX4" fmla="*/ 20956 w 8564775"/>
              <a:gd name="connsiteY4" fmla="*/ 299297 h 4545862"/>
              <a:gd name="connsiteX5" fmla="*/ 20956 w 8564775"/>
              <a:gd name="connsiteY5" fmla="*/ 4435530 h 4545862"/>
              <a:gd name="connsiteX6" fmla="*/ 113825 w 8564775"/>
              <a:gd name="connsiteY6" fmla="*/ 4537130 h 4545862"/>
              <a:gd name="connsiteX7" fmla="*/ 6610668 w 8564775"/>
              <a:gd name="connsiteY7" fmla="*/ 4537129 h 4545862"/>
              <a:gd name="connsiteX0" fmla="*/ 8545037 w 8556044"/>
              <a:gd name="connsiteY0" fmla="*/ 3152829 h 4355362"/>
              <a:gd name="connsiteX1" fmla="*/ 8545037 w 8556044"/>
              <a:gd name="connsiteY1" fmla="*/ 231829 h 4355362"/>
              <a:gd name="connsiteX2" fmla="*/ 8341837 w 8556044"/>
              <a:gd name="connsiteY2" fmla="*/ 28629 h 4355362"/>
              <a:gd name="connsiteX3" fmla="*/ 159068 w 8556044"/>
              <a:gd name="connsiteY3" fmla="*/ 31805 h 4355362"/>
              <a:gd name="connsiteX4" fmla="*/ 12225 w 8556044"/>
              <a:gd name="connsiteY4" fmla="*/ 108797 h 4355362"/>
              <a:gd name="connsiteX5" fmla="*/ 12225 w 8556044"/>
              <a:gd name="connsiteY5" fmla="*/ 4245030 h 4355362"/>
              <a:gd name="connsiteX6" fmla="*/ 105094 w 8556044"/>
              <a:gd name="connsiteY6" fmla="*/ 4346630 h 4355362"/>
              <a:gd name="connsiteX7" fmla="*/ 6601937 w 8556044"/>
              <a:gd name="connsiteY7" fmla="*/ 4346629 h 4355362"/>
              <a:gd name="connsiteX0" fmla="*/ 8590280 w 8601287"/>
              <a:gd name="connsiteY0" fmla="*/ 3152829 h 4355362"/>
              <a:gd name="connsiteX1" fmla="*/ 8590280 w 8601287"/>
              <a:gd name="connsiteY1" fmla="*/ 231829 h 4355362"/>
              <a:gd name="connsiteX2" fmla="*/ 8387080 w 8601287"/>
              <a:gd name="connsiteY2" fmla="*/ 28629 h 4355362"/>
              <a:gd name="connsiteX3" fmla="*/ 159068 w 8601287"/>
              <a:gd name="connsiteY3" fmla="*/ 31805 h 4355362"/>
              <a:gd name="connsiteX4" fmla="*/ 57468 w 8601287"/>
              <a:gd name="connsiteY4" fmla="*/ 108797 h 4355362"/>
              <a:gd name="connsiteX5" fmla="*/ 57468 w 8601287"/>
              <a:gd name="connsiteY5" fmla="*/ 4245030 h 4355362"/>
              <a:gd name="connsiteX6" fmla="*/ 150337 w 8601287"/>
              <a:gd name="connsiteY6" fmla="*/ 4346630 h 4355362"/>
              <a:gd name="connsiteX7" fmla="*/ 6647180 w 8601287"/>
              <a:gd name="connsiteY7" fmla="*/ 4346629 h 4355362"/>
              <a:gd name="connsiteX0" fmla="*/ 8537575 w 8548582"/>
              <a:gd name="connsiteY0" fmla="*/ 3152829 h 4355362"/>
              <a:gd name="connsiteX1" fmla="*/ 8537575 w 8548582"/>
              <a:gd name="connsiteY1" fmla="*/ 231829 h 4355362"/>
              <a:gd name="connsiteX2" fmla="*/ 8334375 w 8548582"/>
              <a:gd name="connsiteY2" fmla="*/ 28629 h 4355362"/>
              <a:gd name="connsiteX3" fmla="*/ 106363 w 8548582"/>
              <a:gd name="connsiteY3" fmla="*/ 31805 h 4355362"/>
              <a:gd name="connsiteX4" fmla="*/ 4763 w 8548582"/>
              <a:gd name="connsiteY4" fmla="*/ 108797 h 4355362"/>
              <a:gd name="connsiteX5" fmla="*/ 4763 w 8548582"/>
              <a:gd name="connsiteY5" fmla="*/ 4245030 h 4355362"/>
              <a:gd name="connsiteX6" fmla="*/ 97632 w 8548582"/>
              <a:gd name="connsiteY6" fmla="*/ 4346630 h 4355362"/>
              <a:gd name="connsiteX7" fmla="*/ 6594475 w 8548582"/>
              <a:gd name="connsiteY7" fmla="*/ 4346629 h 4355362"/>
              <a:gd name="connsiteX0" fmla="*/ 8537575 w 8548582"/>
              <a:gd name="connsiteY0" fmla="*/ 3152829 h 4355362"/>
              <a:gd name="connsiteX1" fmla="*/ 8537575 w 8548582"/>
              <a:gd name="connsiteY1" fmla="*/ 231829 h 4355362"/>
              <a:gd name="connsiteX2" fmla="*/ 8334375 w 8548582"/>
              <a:gd name="connsiteY2" fmla="*/ 28629 h 4355362"/>
              <a:gd name="connsiteX3" fmla="*/ 106363 w 8548582"/>
              <a:gd name="connsiteY3" fmla="*/ 31805 h 4355362"/>
              <a:gd name="connsiteX4" fmla="*/ 4763 w 8548582"/>
              <a:gd name="connsiteY4" fmla="*/ 108797 h 4355362"/>
              <a:gd name="connsiteX5" fmla="*/ 4763 w 8548582"/>
              <a:gd name="connsiteY5" fmla="*/ 4245030 h 4355362"/>
              <a:gd name="connsiteX6" fmla="*/ 97632 w 8548582"/>
              <a:gd name="connsiteY6" fmla="*/ 4346630 h 4355362"/>
              <a:gd name="connsiteX7" fmla="*/ 6594475 w 8548582"/>
              <a:gd name="connsiteY7" fmla="*/ 4346629 h 4355362"/>
              <a:gd name="connsiteX0" fmla="*/ 8537575 w 8548582"/>
              <a:gd name="connsiteY0" fmla="*/ 3152829 h 4355362"/>
              <a:gd name="connsiteX1" fmla="*/ 8537575 w 8548582"/>
              <a:gd name="connsiteY1" fmla="*/ 231829 h 4355362"/>
              <a:gd name="connsiteX2" fmla="*/ 8334375 w 8548582"/>
              <a:gd name="connsiteY2" fmla="*/ 28629 h 4355362"/>
              <a:gd name="connsiteX3" fmla="*/ 106363 w 8548582"/>
              <a:gd name="connsiteY3" fmla="*/ 31805 h 4355362"/>
              <a:gd name="connsiteX4" fmla="*/ 4763 w 8548582"/>
              <a:gd name="connsiteY4" fmla="*/ 108797 h 4355362"/>
              <a:gd name="connsiteX5" fmla="*/ 4763 w 8548582"/>
              <a:gd name="connsiteY5" fmla="*/ 4245030 h 4355362"/>
              <a:gd name="connsiteX6" fmla="*/ 97632 w 8548582"/>
              <a:gd name="connsiteY6" fmla="*/ 4346630 h 4355362"/>
              <a:gd name="connsiteX7" fmla="*/ 6594475 w 8548582"/>
              <a:gd name="connsiteY7" fmla="*/ 4346629 h 4355362"/>
              <a:gd name="connsiteX0" fmla="*/ 8537575 w 8548582"/>
              <a:gd name="connsiteY0" fmla="*/ 3152829 h 4355362"/>
              <a:gd name="connsiteX1" fmla="*/ 8537575 w 8548582"/>
              <a:gd name="connsiteY1" fmla="*/ 231829 h 4355362"/>
              <a:gd name="connsiteX2" fmla="*/ 8334375 w 8548582"/>
              <a:gd name="connsiteY2" fmla="*/ 28629 h 4355362"/>
              <a:gd name="connsiteX3" fmla="*/ 106363 w 8548582"/>
              <a:gd name="connsiteY3" fmla="*/ 31805 h 4355362"/>
              <a:gd name="connsiteX4" fmla="*/ 4763 w 8548582"/>
              <a:gd name="connsiteY4" fmla="*/ 108797 h 4355362"/>
              <a:gd name="connsiteX5" fmla="*/ 4763 w 8548582"/>
              <a:gd name="connsiteY5" fmla="*/ 4245030 h 4355362"/>
              <a:gd name="connsiteX6" fmla="*/ 97632 w 8548582"/>
              <a:gd name="connsiteY6" fmla="*/ 4346630 h 4355362"/>
              <a:gd name="connsiteX7" fmla="*/ 6594475 w 8548582"/>
              <a:gd name="connsiteY7" fmla="*/ 4346629 h 4355362"/>
              <a:gd name="connsiteX0" fmla="*/ 8537575 w 8548582"/>
              <a:gd name="connsiteY0" fmla="*/ 3152829 h 4355362"/>
              <a:gd name="connsiteX1" fmla="*/ 8537575 w 8548582"/>
              <a:gd name="connsiteY1" fmla="*/ 231829 h 4355362"/>
              <a:gd name="connsiteX2" fmla="*/ 8334375 w 8548582"/>
              <a:gd name="connsiteY2" fmla="*/ 28629 h 4355362"/>
              <a:gd name="connsiteX3" fmla="*/ 106363 w 8548582"/>
              <a:gd name="connsiteY3" fmla="*/ 31805 h 4355362"/>
              <a:gd name="connsiteX4" fmla="*/ 4763 w 8548582"/>
              <a:gd name="connsiteY4" fmla="*/ 108797 h 4355362"/>
              <a:gd name="connsiteX5" fmla="*/ 4763 w 8548582"/>
              <a:gd name="connsiteY5" fmla="*/ 4245030 h 4355362"/>
              <a:gd name="connsiteX6" fmla="*/ 97632 w 8548582"/>
              <a:gd name="connsiteY6" fmla="*/ 4346630 h 4355362"/>
              <a:gd name="connsiteX7" fmla="*/ 6594475 w 8548582"/>
              <a:gd name="connsiteY7" fmla="*/ 4346629 h 4355362"/>
              <a:gd name="connsiteX0" fmla="*/ 8537575 w 8548582"/>
              <a:gd name="connsiteY0" fmla="*/ 3152829 h 4355362"/>
              <a:gd name="connsiteX1" fmla="*/ 8537575 w 8548582"/>
              <a:gd name="connsiteY1" fmla="*/ 231829 h 4355362"/>
              <a:gd name="connsiteX2" fmla="*/ 8334375 w 8548582"/>
              <a:gd name="connsiteY2" fmla="*/ 28629 h 4355362"/>
              <a:gd name="connsiteX3" fmla="*/ 106363 w 8548582"/>
              <a:gd name="connsiteY3" fmla="*/ 31805 h 4355362"/>
              <a:gd name="connsiteX4" fmla="*/ 4763 w 8548582"/>
              <a:gd name="connsiteY4" fmla="*/ 108797 h 4355362"/>
              <a:gd name="connsiteX5" fmla="*/ 4763 w 8548582"/>
              <a:gd name="connsiteY5" fmla="*/ 4245030 h 4355362"/>
              <a:gd name="connsiteX6" fmla="*/ 97632 w 8548582"/>
              <a:gd name="connsiteY6" fmla="*/ 4346630 h 4355362"/>
              <a:gd name="connsiteX7" fmla="*/ 6594475 w 8548582"/>
              <a:gd name="connsiteY7" fmla="*/ 4346629 h 4355362"/>
              <a:gd name="connsiteX0" fmla="*/ 8537575 w 8548582"/>
              <a:gd name="connsiteY0" fmla="*/ 3141768 h 4344301"/>
              <a:gd name="connsiteX1" fmla="*/ 8537575 w 8548582"/>
              <a:gd name="connsiteY1" fmla="*/ 220768 h 4344301"/>
              <a:gd name="connsiteX2" fmla="*/ 8334375 w 8548582"/>
              <a:gd name="connsiteY2" fmla="*/ 17568 h 4344301"/>
              <a:gd name="connsiteX3" fmla="*/ 106363 w 8548582"/>
              <a:gd name="connsiteY3" fmla="*/ 20744 h 4344301"/>
              <a:gd name="connsiteX4" fmla="*/ 4762 w 8548582"/>
              <a:gd name="connsiteY4" fmla="*/ 109642 h 4344301"/>
              <a:gd name="connsiteX5" fmla="*/ 4763 w 8548582"/>
              <a:gd name="connsiteY5" fmla="*/ 4233969 h 4344301"/>
              <a:gd name="connsiteX6" fmla="*/ 97632 w 8548582"/>
              <a:gd name="connsiteY6" fmla="*/ 4335569 h 4344301"/>
              <a:gd name="connsiteX7" fmla="*/ 6594475 w 8548582"/>
              <a:gd name="connsiteY7" fmla="*/ 4335568 h 4344301"/>
              <a:gd name="connsiteX0" fmla="*/ 8539482 w 8550489"/>
              <a:gd name="connsiteY0" fmla="*/ 3154417 h 4356950"/>
              <a:gd name="connsiteX1" fmla="*/ 8539482 w 8550489"/>
              <a:gd name="connsiteY1" fmla="*/ 233417 h 4356950"/>
              <a:gd name="connsiteX2" fmla="*/ 8336282 w 8550489"/>
              <a:gd name="connsiteY2" fmla="*/ 30217 h 4356950"/>
              <a:gd name="connsiteX3" fmla="*/ 108270 w 8550489"/>
              <a:gd name="connsiteY3" fmla="*/ 33393 h 4356950"/>
              <a:gd name="connsiteX4" fmla="*/ 6669 w 8550489"/>
              <a:gd name="connsiteY4" fmla="*/ 122291 h 4356950"/>
              <a:gd name="connsiteX5" fmla="*/ 6670 w 8550489"/>
              <a:gd name="connsiteY5" fmla="*/ 4246618 h 4356950"/>
              <a:gd name="connsiteX6" fmla="*/ 99539 w 8550489"/>
              <a:gd name="connsiteY6" fmla="*/ 4348218 h 4356950"/>
              <a:gd name="connsiteX7" fmla="*/ 6596382 w 8550489"/>
              <a:gd name="connsiteY7" fmla="*/ 4348217 h 4356950"/>
              <a:gd name="connsiteX0" fmla="*/ 8539482 w 8550489"/>
              <a:gd name="connsiteY0" fmla="*/ 3154417 h 4356950"/>
              <a:gd name="connsiteX1" fmla="*/ 8539482 w 8550489"/>
              <a:gd name="connsiteY1" fmla="*/ 233417 h 4356950"/>
              <a:gd name="connsiteX2" fmla="*/ 8336282 w 8550489"/>
              <a:gd name="connsiteY2" fmla="*/ 30217 h 4356950"/>
              <a:gd name="connsiteX3" fmla="*/ 103508 w 8550489"/>
              <a:gd name="connsiteY3" fmla="*/ 33393 h 4356950"/>
              <a:gd name="connsiteX4" fmla="*/ 6669 w 8550489"/>
              <a:gd name="connsiteY4" fmla="*/ 122291 h 4356950"/>
              <a:gd name="connsiteX5" fmla="*/ 6670 w 8550489"/>
              <a:gd name="connsiteY5" fmla="*/ 4246618 h 4356950"/>
              <a:gd name="connsiteX6" fmla="*/ 99539 w 8550489"/>
              <a:gd name="connsiteY6" fmla="*/ 4348218 h 4356950"/>
              <a:gd name="connsiteX7" fmla="*/ 6596382 w 8550489"/>
              <a:gd name="connsiteY7" fmla="*/ 4348217 h 4356950"/>
              <a:gd name="connsiteX0" fmla="*/ 8539482 w 8550489"/>
              <a:gd name="connsiteY0" fmla="*/ 3154417 h 4356950"/>
              <a:gd name="connsiteX1" fmla="*/ 8539482 w 8550489"/>
              <a:gd name="connsiteY1" fmla="*/ 233417 h 4356950"/>
              <a:gd name="connsiteX2" fmla="*/ 8336282 w 8550489"/>
              <a:gd name="connsiteY2" fmla="*/ 30217 h 4356950"/>
              <a:gd name="connsiteX3" fmla="*/ 103508 w 8550489"/>
              <a:gd name="connsiteY3" fmla="*/ 33393 h 4356950"/>
              <a:gd name="connsiteX4" fmla="*/ 6669 w 8550489"/>
              <a:gd name="connsiteY4" fmla="*/ 122291 h 4356950"/>
              <a:gd name="connsiteX5" fmla="*/ 6670 w 8550489"/>
              <a:gd name="connsiteY5" fmla="*/ 4246618 h 4356950"/>
              <a:gd name="connsiteX6" fmla="*/ 99539 w 8550489"/>
              <a:gd name="connsiteY6" fmla="*/ 4348218 h 4356950"/>
              <a:gd name="connsiteX7" fmla="*/ 6596382 w 8550489"/>
              <a:gd name="connsiteY7" fmla="*/ 4348217 h 4356950"/>
              <a:gd name="connsiteX0" fmla="*/ 8539482 w 8550489"/>
              <a:gd name="connsiteY0" fmla="*/ 3154417 h 4356950"/>
              <a:gd name="connsiteX1" fmla="*/ 8539482 w 8550489"/>
              <a:gd name="connsiteY1" fmla="*/ 233417 h 4356950"/>
              <a:gd name="connsiteX2" fmla="*/ 8336282 w 8550489"/>
              <a:gd name="connsiteY2" fmla="*/ 30217 h 4356950"/>
              <a:gd name="connsiteX3" fmla="*/ 103508 w 8550489"/>
              <a:gd name="connsiteY3" fmla="*/ 33393 h 4356950"/>
              <a:gd name="connsiteX4" fmla="*/ 6669 w 8550489"/>
              <a:gd name="connsiteY4" fmla="*/ 122291 h 4356950"/>
              <a:gd name="connsiteX5" fmla="*/ 6670 w 8550489"/>
              <a:gd name="connsiteY5" fmla="*/ 4246618 h 4356950"/>
              <a:gd name="connsiteX6" fmla="*/ 99539 w 8550489"/>
              <a:gd name="connsiteY6" fmla="*/ 4348218 h 4356950"/>
              <a:gd name="connsiteX7" fmla="*/ 6596382 w 8550489"/>
              <a:gd name="connsiteY7" fmla="*/ 4348217 h 4356950"/>
              <a:gd name="connsiteX0" fmla="*/ 8539482 w 8550489"/>
              <a:gd name="connsiteY0" fmla="*/ 3154417 h 4356950"/>
              <a:gd name="connsiteX1" fmla="*/ 8539482 w 8550489"/>
              <a:gd name="connsiteY1" fmla="*/ 233417 h 4356950"/>
              <a:gd name="connsiteX2" fmla="*/ 8336282 w 8550489"/>
              <a:gd name="connsiteY2" fmla="*/ 30217 h 4356950"/>
              <a:gd name="connsiteX3" fmla="*/ 103508 w 8550489"/>
              <a:gd name="connsiteY3" fmla="*/ 33393 h 4356950"/>
              <a:gd name="connsiteX4" fmla="*/ 6669 w 8550489"/>
              <a:gd name="connsiteY4" fmla="*/ 122291 h 4356950"/>
              <a:gd name="connsiteX5" fmla="*/ 6670 w 8550489"/>
              <a:gd name="connsiteY5" fmla="*/ 4246618 h 4356950"/>
              <a:gd name="connsiteX6" fmla="*/ 99539 w 8550489"/>
              <a:gd name="connsiteY6" fmla="*/ 4348218 h 4356950"/>
              <a:gd name="connsiteX7" fmla="*/ 6596382 w 8550489"/>
              <a:gd name="connsiteY7" fmla="*/ 4348217 h 4356950"/>
              <a:gd name="connsiteX0" fmla="*/ 8539482 w 8550489"/>
              <a:gd name="connsiteY0" fmla="*/ 3154417 h 4356950"/>
              <a:gd name="connsiteX1" fmla="*/ 8539482 w 8550489"/>
              <a:gd name="connsiteY1" fmla="*/ 233417 h 4356950"/>
              <a:gd name="connsiteX2" fmla="*/ 8336282 w 8550489"/>
              <a:gd name="connsiteY2" fmla="*/ 30217 h 4356950"/>
              <a:gd name="connsiteX3" fmla="*/ 103508 w 8550489"/>
              <a:gd name="connsiteY3" fmla="*/ 33393 h 4356950"/>
              <a:gd name="connsiteX4" fmla="*/ 6669 w 8550489"/>
              <a:gd name="connsiteY4" fmla="*/ 122291 h 4356950"/>
              <a:gd name="connsiteX5" fmla="*/ 6670 w 8550489"/>
              <a:gd name="connsiteY5" fmla="*/ 4246618 h 4356950"/>
              <a:gd name="connsiteX6" fmla="*/ 99539 w 8550489"/>
              <a:gd name="connsiteY6" fmla="*/ 4348218 h 4356950"/>
              <a:gd name="connsiteX7" fmla="*/ 6596382 w 8550489"/>
              <a:gd name="connsiteY7" fmla="*/ 4348217 h 4356950"/>
              <a:gd name="connsiteX0" fmla="*/ 8539482 w 8550489"/>
              <a:gd name="connsiteY0" fmla="*/ 3159230 h 4361763"/>
              <a:gd name="connsiteX1" fmla="*/ 8539482 w 8550489"/>
              <a:gd name="connsiteY1" fmla="*/ 238230 h 4361763"/>
              <a:gd name="connsiteX2" fmla="*/ 8336282 w 8550489"/>
              <a:gd name="connsiteY2" fmla="*/ 35030 h 4361763"/>
              <a:gd name="connsiteX3" fmla="*/ 103508 w 8550489"/>
              <a:gd name="connsiteY3" fmla="*/ 38206 h 4361763"/>
              <a:gd name="connsiteX4" fmla="*/ 6669 w 8550489"/>
              <a:gd name="connsiteY4" fmla="*/ 127104 h 4361763"/>
              <a:gd name="connsiteX5" fmla="*/ 6670 w 8550489"/>
              <a:gd name="connsiteY5" fmla="*/ 4251431 h 4361763"/>
              <a:gd name="connsiteX6" fmla="*/ 99539 w 8550489"/>
              <a:gd name="connsiteY6" fmla="*/ 4353031 h 4361763"/>
              <a:gd name="connsiteX7" fmla="*/ 6596382 w 8550489"/>
              <a:gd name="connsiteY7" fmla="*/ 4353030 h 4361763"/>
              <a:gd name="connsiteX0" fmla="*/ 8539482 w 8550489"/>
              <a:gd name="connsiteY0" fmla="*/ 3154417 h 4356950"/>
              <a:gd name="connsiteX1" fmla="*/ 8539482 w 8550489"/>
              <a:gd name="connsiteY1" fmla="*/ 233417 h 4356950"/>
              <a:gd name="connsiteX2" fmla="*/ 8336282 w 8550489"/>
              <a:gd name="connsiteY2" fmla="*/ 30217 h 4356950"/>
              <a:gd name="connsiteX3" fmla="*/ 103508 w 8550489"/>
              <a:gd name="connsiteY3" fmla="*/ 33393 h 4356950"/>
              <a:gd name="connsiteX4" fmla="*/ 6669 w 8550489"/>
              <a:gd name="connsiteY4" fmla="*/ 122291 h 4356950"/>
              <a:gd name="connsiteX5" fmla="*/ 6670 w 8550489"/>
              <a:gd name="connsiteY5" fmla="*/ 4246618 h 4356950"/>
              <a:gd name="connsiteX6" fmla="*/ 99539 w 8550489"/>
              <a:gd name="connsiteY6" fmla="*/ 4348218 h 4356950"/>
              <a:gd name="connsiteX7" fmla="*/ 6596382 w 8550489"/>
              <a:gd name="connsiteY7" fmla="*/ 4348217 h 4356950"/>
              <a:gd name="connsiteX0" fmla="*/ 8539482 w 8550489"/>
              <a:gd name="connsiteY0" fmla="*/ 3154417 h 4356950"/>
              <a:gd name="connsiteX1" fmla="*/ 8539482 w 8550489"/>
              <a:gd name="connsiteY1" fmla="*/ 233417 h 4356950"/>
              <a:gd name="connsiteX2" fmla="*/ 8336282 w 8550489"/>
              <a:gd name="connsiteY2" fmla="*/ 30217 h 4356950"/>
              <a:gd name="connsiteX3" fmla="*/ 103508 w 8550489"/>
              <a:gd name="connsiteY3" fmla="*/ 33393 h 4356950"/>
              <a:gd name="connsiteX4" fmla="*/ 6669 w 8550489"/>
              <a:gd name="connsiteY4" fmla="*/ 122291 h 4356950"/>
              <a:gd name="connsiteX5" fmla="*/ 6670 w 8550489"/>
              <a:gd name="connsiteY5" fmla="*/ 4246618 h 4356950"/>
              <a:gd name="connsiteX6" fmla="*/ 99539 w 8550489"/>
              <a:gd name="connsiteY6" fmla="*/ 4348218 h 4356950"/>
              <a:gd name="connsiteX7" fmla="*/ 6596382 w 8550489"/>
              <a:gd name="connsiteY7" fmla="*/ 4348217 h 4356950"/>
              <a:gd name="connsiteX0" fmla="*/ 8539482 w 8550489"/>
              <a:gd name="connsiteY0" fmla="*/ 3154417 h 4356950"/>
              <a:gd name="connsiteX1" fmla="*/ 8539482 w 8550489"/>
              <a:gd name="connsiteY1" fmla="*/ 233417 h 4356950"/>
              <a:gd name="connsiteX2" fmla="*/ 8336282 w 8550489"/>
              <a:gd name="connsiteY2" fmla="*/ 30217 h 4356950"/>
              <a:gd name="connsiteX3" fmla="*/ 103508 w 8550489"/>
              <a:gd name="connsiteY3" fmla="*/ 33393 h 4356950"/>
              <a:gd name="connsiteX4" fmla="*/ 6669 w 8550489"/>
              <a:gd name="connsiteY4" fmla="*/ 122291 h 4356950"/>
              <a:gd name="connsiteX5" fmla="*/ 6670 w 8550489"/>
              <a:gd name="connsiteY5" fmla="*/ 4246618 h 4356950"/>
              <a:gd name="connsiteX6" fmla="*/ 99539 w 8550489"/>
              <a:gd name="connsiteY6" fmla="*/ 4348218 h 4356950"/>
              <a:gd name="connsiteX7" fmla="*/ 6596382 w 8550489"/>
              <a:gd name="connsiteY7" fmla="*/ 4348217 h 4356950"/>
              <a:gd name="connsiteX0" fmla="*/ 8539481 w 8550488"/>
              <a:gd name="connsiteY0" fmla="*/ 3142511 h 4345044"/>
              <a:gd name="connsiteX1" fmla="*/ 8539481 w 8550488"/>
              <a:gd name="connsiteY1" fmla="*/ 221511 h 4345044"/>
              <a:gd name="connsiteX2" fmla="*/ 8336281 w 8550488"/>
              <a:gd name="connsiteY2" fmla="*/ 18311 h 4345044"/>
              <a:gd name="connsiteX3" fmla="*/ 103507 w 8550488"/>
              <a:gd name="connsiteY3" fmla="*/ 21487 h 4345044"/>
              <a:gd name="connsiteX4" fmla="*/ 6669 w 8550488"/>
              <a:gd name="connsiteY4" fmla="*/ 122291 h 4345044"/>
              <a:gd name="connsiteX5" fmla="*/ 6669 w 8550488"/>
              <a:gd name="connsiteY5" fmla="*/ 4234712 h 4345044"/>
              <a:gd name="connsiteX6" fmla="*/ 99538 w 8550488"/>
              <a:gd name="connsiteY6" fmla="*/ 4336312 h 4345044"/>
              <a:gd name="connsiteX7" fmla="*/ 6596381 w 8550488"/>
              <a:gd name="connsiteY7" fmla="*/ 4336311 h 4345044"/>
              <a:gd name="connsiteX0" fmla="*/ 8539481 w 8550487"/>
              <a:gd name="connsiteY0" fmla="*/ 3246543 h 4449076"/>
              <a:gd name="connsiteX1" fmla="*/ 8539480 w 8550487"/>
              <a:gd name="connsiteY1" fmla="*/ 220768 h 4449076"/>
              <a:gd name="connsiteX2" fmla="*/ 8336281 w 8550487"/>
              <a:gd name="connsiteY2" fmla="*/ 122343 h 4449076"/>
              <a:gd name="connsiteX3" fmla="*/ 103507 w 8550487"/>
              <a:gd name="connsiteY3" fmla="*/ 125519 h 4449076"/>
              <a:gd name="connsiteX4" fmla="*/ 6669 w 8550487"/>
              <a:gd name="connsiteY4" fmla="*/ 226323 h 4449076"/>
              <a:gd name="connsiteX5" fmla="*/ 6669 w 8550487"/>
              <a:gd name="connsiteY5" fmla="*/ 4338744 h 4449076"/>
              <a:gd name="connsiteX6" fmla="*/ 99538 w 8550487"/>
              <a:gd name="connsiteY6" fmla="*/ 4440344 h 4449076"/>
              <a:gd name="connsiteX7" fmla="*/ 6596381 w 8550487"/>
              <a:gd name="connsiteY7" fmla="*/ 4440343 h 4449076"/>
              <a:gd name="connsiteX0" fmla="*/ 8539481 w 8597847"/>
              <a:gd name="connsiteY0" fmla="*/ 3246543 h 4449076"/>
              <a:gd name="connsiteX1" fmla="*/ 8539480 w 8597847"/>
              <a:gd name="connsiteY1" fmla="*/ 220768 h 4449076"/>
              <a:gd name="connsiteX2" fmla="*/ 8438674 w 8597847"/>
              <a:gd name="connsiteY2" fmla="*/ 125519 h 4449076"/>
              <a:gd name="connsiteX3" fmla="*/ 103507 w 8597847"/>
              <a:gd name="connsiteY3" fmla="*/ 125519 h 4449076"/>
              <a:gd name="connsiteX4" fmla="*/ 6669 w 8597847"/>
              <a:gd name="connsiteY4" fmla="*/ 226323 h 4449076"/>
              <a:gd name="connsiteX5" fmla="*/ 6669 w 8597847"/>
              <a:gd name="connsiteY5" fmla="*/ 4338744 h 4449076"/>
              <a:gd name="connsiteX6" fmla="*/ 99538 w 8597847"/>
              <a:gd name="connsiteY6" fmla="*/ 4440344 h 4449076"/>
              <a:gd name="connsiteX7" fmla="*/ 6596381 w 8597847"/>
              <a:gd name="connsiteY7" fmla="*/ 4440343 h 4449076"/>
              <a:gd name="connsiteX0" fmla="*/ 8539481 w 8550487"/>
              <a:gd name="connsiteY0" fmla="*/ 3246543 h 4449076"/>
              <a:gd name="connsiteX1" fmla="*/ 8539480 w 8550487"/>
              <a:gd name="connsiteY1" fmla="*/ 220768 h 4449076"/>
              <a:gd name="connsiteX2" fmla="*/ 8438674 w 8550487"/>
              <a:gd name="connsiteY2" fmla="*/ 125519 h 4449076"/>
              <a:gd name="connsiteX3" fmla="*/ 103507 w 8550487"/>
              <a:gd name="connsiteY3" fmla="*/ 125519 h 4449076"/>
              <a:gd name="connsiteX4" fmla="*/ 6669 w 8550487"/>
              <a:gd name="connsiteY4" fmla="*/ 226323 h 4449076"/>
              <a:gd name="connsiteX5" fmla="*/ 6669 w 8550487"/>
              <a:gd name="connsiteY5" fmla="*/ 4338744 h 4449076"/>
              <a:gd name="connsiteX6" fmla="*/ 99538 w 8550487"/>
              <a:gd name="connsiteY6" fmla="*/ 4440344 h 4449076"/>
              <a:gd name="connsiteX7" fmla="*/ 6596381 w 8550487"/>
              <a:gd name="connsiteY7" fmla="*/ 4440343 h 4449076"/>
              <a:gd name="connsiteX0" fmla="*/ 8539481 w 8556837"/>
              <a:gd name="connsiteY0" fmla="*/ 3151293 h 4353826"/>
              <a:gd name="connsiteX1" fmla="*/ 8539480 w 8556837"/>
              <a:gd name="connsiteY1" fmla="*/ 125518 h 4353826"/>
              <a:gd name="connsiteX2" fmla="*/ 8438674 w 8556837"/>
              <a:gd name="connsiteY2" fmla="*/ 30269 h 4353826"/>
              <a:gd name="connsiteX3" fmla="*/ 103507 w 8556837"/>
              <a:gd name="connsiteY3" fmla="*/ 30269 h 4353826"/>
              <a:gd name="connsiteX4" fmla="*/ 6669 w 8556837"/>
              <a:gd name="connsiteY4" fmla="*/ 131073 h 4353826"/>
              <a:gd name="connsiteX5" fmla="*/ 6669 w 8556837"/>
              <a:gd name="connsiteY5" fmla="*/ 4243494 h 4353826"/>
              <a:gd name="connsiteX6" fmla="*/ 99538 w 8556837"/>
              <a:gd name="connsiteY6" fmla="*/ 4345094 h 4353826"/>
              <a:gd name="connsiteX7" fmla="*/ 6596381 w 8556837"/>
              <a:gd name="connsiteY7" fmla="*/ 4345093 h 4353826"/>
              <a:gd name="connsiteX0" fmla="*/ 8539481 w 8539481"/>
              <a:gd name="connsiteY0" fmla="*/ 3142511 h 4345044"/>
              <a:gd name="connsiteX1" fmla="*/ 8539480 w 8539481"/>
              <a:gd name="connsiteY1" fmla="*/ 116736 h 4345044"/>
              <a:gd name="connsiteX2" fmla="*/ 8438674 w 8539481"/>
              <a:gd name="connsiteY2" fmla="*/ 21487 h 4345044"/>
              <a:gd name="connsiteX3" fmla="*/ 103507 w 8539481"/>
              <a:gd name="connsiteY3" fmla="*/ 21487 h 4345044"/>
              <a:gd name="connsiteX4" fmla="*/ 6669 w 8539481"/>
              <a:gd name="connsiteY4" fmla="*/ 122291 h 4345044"/>
              <a:gd name="connsiteX5" fmla="*/ 6669 w 8539481"/>
              <a:gd name="connsiteY5" fmla="*/ 4234712 h 4345044"/>
              <a:gd name="connsiteX6" fmla="*/ 99538 w 8539481"/>
              <a:gd name="connsiteY6" fmla="*/ 4336312 h 4345044"/>
              <a:gd name="connsiteX7" fmla="*/ 6596381 w 8539481"/>
              <a:gd name="connsiteY7" fmla="*/ 4336311 h 4345044"/>
              <a:gd name="connsiteX0" fmla="*/ 8539481 w 8539481"/>
              <a:gd name="connsiteY0" fmla="*/ 3148119 h 4350652"/>
              <a:gd name="connsiteX1" fmla="*/ 8539480 w 8539481"/>
              <a:gd name="connsiteY1" fmla="*/ 122344 h 4350652"/>
              <a:gd name="connsiteX2" fmla="*/ 8438674 w 8539481"/>
              <a:gd name="connsiteY2" fmla="*/ 27095 h 4350652"/>
              <a:gd name="connsiteX3" fmla="*/ 103507 w 8539481"/>
              <a:gd name="connsiteY3" fmla="*/ 27095 h 4350652"/>
              <a:gd name="connsiteX4" fmla="*/ 6669 w 8539481"/>
              <a:gd name="connsiteY4" fmla="*/ 127899 h 4350652"/>
              <a:gd name="connsiteX5" fmla="*/ 6669 w 8539481"/>
              <a:gd name="connsiteY5" fmla="*/ 4240320 h 4350652"/>
              <a:gd name="connsiteX6" fmla="*/ 99538 w 8539481"/>
              <a:gd name="connsiteY6" fmla="*/ 4341920 h 4350652"/>
              <a:gd name="connsiteX7" fmla="*/ 6596381 w 8539481"/>
              <a:gd name="connsiteY7" fmla="*/ 4341919 h 4350652"/>
              <a:gd name="connsiteX0" fmla="*/ 8539481 w 8539481"/>
              <a:gd name="connsiteY0" fmla="*/ 3148119 h 4350652"/>
              <a:gd name="connsiteX1" fmla="*/ 8539480 w 8539481"/>
              <a:gd name="connsiteY1" fmla="*/ 122344 h 4350652"/>
              <a:gd name="connsiteX2" fmla="*/ 8438674 w 8539481"/>
              <a:gd name="connsiteY2" fmla="*/ 27095 h 4350652"/>
              <a:gd name="connsiteX3" fmla="*/ 103507 w 8539481"/>
              <a:gd name="connsiteY3" fmla="*/ 27095 h 4350652"/>
              <a:gd name="connsiteX4" fmla="*/ 6669 w 8539481"/>
              <a:gd name="connsiteY4" fmla="*/ 127899 h 4350652"/>
              <a:gd name="connsiteX5" fmla="*/ 6669 w 8539481"/>
              <a:gd name="connsiteY5" fmla="*/ 4240320 h 4350652"/>
              <a:gd name="connsiteX6" fmla="*/ 99538 w 8539481"/>
              <a:gd name="connsiteY6" fmla="*/ 4341920 h 4350652"/>
              <a:gd name="connsiteX7" fmla="*/ 6596381 w 8539481"/>
              <a:gd name="connsiteY7" fmla="*/ 4341919 h 4350652"/>
              <a:gd name="connsiteX0" fmla="*/ 8539481 w 8539481"/>
              <a:gd name="connsiteY0" fmla="*/ 3148119 h 4350652"/>
              <a:gd name="connsiteX1" fmla="*/ 8539480 w 8539481"/>
              <a:gd name="connsiteY1" fmla="*/ 122344 h 4350652"/>
              <a:gd name="connsiteX2" fmla="*/ 8438674 w 8539481"/>
              <a:gd name="connsiteY2" fmla="*/ 27095 h 4350652"/>
              <a:gd name="connsiteX3" fmla="*/ 103507 w 8539481"/>
              <a:gd name="connsiteY3" fmla="*/ 27095 h 4350652"/>
              <a:gd name="connsiteX4" fmla="*/ 6669 w 8539481"/>
              <a:gd name="connsiteY4" fmla="*/ 127899 h 4350652"/>
              <a:gd name="connsiteX5" fmla="*/ 6669 w 8539481"/>
              <a:gd name="connsiteY5" fmla="*/ 4240320 h 4350652"/>
              <a:gd name="connsiteX6" fmla="*/ 99538 w 8539481"/>
              <a:gd name="connsiteY6" fmla="*/ 4341920 h 4350652"/>
              <a:gd name="connsiteX7" fmla="*/ 6596381 w 8539481"/>
              <a:gd name="connsiteY7" fmla="*/ 4341919 h 4350652"/>
              <a:gd name="connsiteX0" fmla="*/ 8539481 w 8539481"/>
              <a:gd name="connsiteY0" fmla="*/ 3142511 h 4345044"/>
              <a:gd name="connsiteX1" fmla="*/ 8539481 w 8539481"/>
              <a:gd name="connsiteY1" fmla="*/ 131023 h 4345044"/>
              <a:gd name="connsiteX2" fmla="*/ 8438674 w 8539481"/>
              <a:gd name="connsiteY2" fmla="*/ 21487 h 4345044"/>
              <a:gd name="connsiteX3" fmla="*/ 103507 w 8539481"/>
              <a:gd name="connsiteY3" fmla="*/ 21487 h 4345044"/>
              <a:gd name="connsiteX4" fmla="*/ 6669 w 8539481"/>
              <a:gd name="connsiteY4" fmla="*/ 122291 h 4345044"/>
              <a:gd name="connsiteX5" fmla="*/ 6669 w 8539481"/>
              <a:gd name="connsiteY5" fmla="*/ 4234712 h 4345044"/>
              <a:gd name="connsiteX6" fmla="*/ 99538 w 8539481"/>
              <a:gd name="connsiteY6" fmla="*/ 4336312 h 4345044"/>
              <a:gd name="connsiteX7" fmla="*/ 6596381 w 8539481"/>
              <a:gd name="connsiteY7" fmla="*/ 4336311 h 4345044"/>
              <a:gd name="connsiteX0" fmla="*/ 8539481 w 8539481"/>
              <a:gd name="connsiteY0" fmla="*/ 3142511 h 4345044"/>
              <a:gd name="connsiteX1" fmla="*/ 8539481 w 8539481"/>
              <a:gd name="connsiteY1" fmla="*/ 131023 h 4345044"/>
              <a:gd name="connsiteX2" fmla="*/ 8438674 w 8539481"/>
              <a:gd name="connsiteY2" fmla="*/ 21487 h 4345044"/>
              <a:gd name="connsiteX3" fmla="*/ 103507 w 8539481"/>
              <a:gd name="connsiteY3" fmla="*/ 21487 h 4345044"/>
              <a:gd name="connsiteX4" fmla="*/ 6669 w 8539481"/>
              <a:gd name="connsiteY4" fmla="*/ 122291 h 4345044"/>
              <a:gd name="connsiteX5" fmla="*/ 6669 w 8539481"/>
              <a:gd name="connsiteY5" fmla="*/ 4234712 h 4345044"/>
              <a:gd name="connsiteX6" fmla="*/ 99538 w 8539481"/>
              <a:gd name="connsiteY6" fmla="*/ 4336312 h 4345044"/>
              <a:gd name="connsiteX7" fmla="*/ 6596381 w 8539481"/>
              <a:gd name="connsiteY7" fmla="*/ 4336311 h 4345044"/>
              <a:gd name="connsiteX0" fmla="*/ 8539481 w 8549428"/>
              <a:gd name="connsiteY0" fmla="*/ 3142511 h 4345044"/>
              <a:gd name="connsiteX1" fmla="*/ 8539481 w 8549428"/>
              <a:gd name="connsiteY1" fmla="*/ 131023 h 4345044"/>
              <a:gd name="connsiteX2" fmla="*/ 8438674 w 8549428"/>
              <a:gd name="connsiteY2" fmla="*/ 21487 h 4345044"/>
              <a:gd name="connsiteX3" fmla="*/ 103507 w 8549428"/>
              <a:gd name="connsiteY3" fmla="*/ 21487 h 4345044"/>
              <a:gd name="connsiteX4" fmla="*/ 6669 w 8549428"/>
              <a:gd name="connsiteY4" fmla="*/ 122291 h 4345044"/>
              <a:gd name="connsiteX5" fmla="*/ 6669 w 8549428"/>
              <a:gd name="connsiteY5" fmla="*/ 4234712 h 4345044"/>
              <a:gd name="connsiteX6" fmla="*/ 99538 w 8549428"/>
              <a:gd name="connsiteY6" fmla="*/ 4336312 h 4345044"/>
              <a:gd name="connsiteX7" fmla="*/ 6596381 w 8549428"/>
              <a:gd name="connsiteY7" fmla="*/ 4336311 h 4345044"/>
              <a:gd name="connsiteX0" fmla="*/ 8539481 w 8549428"/>
              <a:gd name="connsiteY0" fmla="*/ 3142511 h 4345044"/>
              <a:gd name="connsiteX1" fmla="*/ 8539480 w 8549428"/>
              <a:gd name="connsiteY1" fmla="*/ 131023 h 4345044"/>
              <a:gd name="connsiteX2" fmla="*/ 8438674 w 8549428"/>
              <a:gd name="connsiteY2" fmla="*/ 21487 h 4345044"/>
              <a:gd name="connsiteX3" fmla="*/ 103507 w 8549428"/>
              <a:gd name="connsiteY3" fmla="*/ 21487 h 4345044"/>
              <a:gd name="connsiteX4" fmla="*/ 6669 w 8549428"/>
              <a:gd name="connsiteY4" fmla="*/ 122291 h 4345044"/>
              <a:gd name="connsiteX5" fmla="*/ 6669 w 8549428"/>
              <a:gd name="connsiteY5" fmla="*/ 4234712 h 4345044"/>
              <a:gd name="connsiteX6" fmla="*/ 99538 w 8549428"/>
              <a:gd name="connsiteY6" fmla="*/ 4336312 h 4345044"/>
              <a:gd name="connsiteX7" fmla="*/ 6596381 w 8549428"/>
              <a:gd name="connsiteY7" fmla="*/ 4336311 h 4345044"/>
              <a:gd name="connsiteX0" fmla="*/ 8539481 w 8539481"/>
              <a:gd name="connsiteY0" fmla="*/ 3142511 h 4345044"/>
              <a:gd name="connsiteX1" fmla="*/ 8539480 w 8539481"/>
              <a:gd name="connsiteY1" fmla="*/ 131023 h 4345044"/>
              <a:gd name="connsiteX2" fmla="*/ 8422005 w 8539481"/>
              <a:gd name="connsiteY2" fmla="*/ 21487 h 4345044"/>
              <a:gd name="connsiteX3" fmla="*/ 103507 w 8539481"/>
              <a:gd name="connsiteY3" fmla="*/ 21487 h 4345044"/>
              <a:gd name="connsiteX4" fmla="*/ 6669 w 8539481"/>
              <a:gd name="connsiteY4" fmla="*/ 122291 h 4345044"/>
              <a:gd name="connsiteX5" fmla="*/ 6669 w 8539481"/>
              <a:gd name="connsiteY5" fmla="*/ 4234712 h 4345044"/>
              <a:gd name="connsiteX6" fmla="*/ 99538 w 8539481"/>
              <a:gd name="connsiteY6" fmla="*/ 4336312 h 4345044"/>
              <a:gd name="connsiteX7" fmla="*/ 6596381 w 8539481"/>
              <a:gd name="connsiteY7" fmla="*/ 4336311 h 4345044"/>
              <a:gd name="connsiteX0" fmla="*/ 8539481 w 8539481"/>
              <a:gd name="connsiteY0" fmla="*/ 3142511 h 4345044"/>
              <a:gd name="connsiteX1" fmla="*/ 8539480 w 8539481"/>
              <a:gd name="connsiteY1" fmla="*/ 131023 h 4345044"/>
              <a:gd name="connsiteX2" fmla="*/ 8410099 w 8539481"/>
              <a:gd name="connsiteY2" fmla="*/ 21487 h 4345044"/>
              <a:gd name="connsiteX3" fmla="*/ 103507 w 8539481"/>
              <a:gd name="connsiteY3" fmla="*/ 21487 h 4345044"/>
              <a:gd name="connsiteX4" fmla="*/ 6669 w 8539481"/>
              <a:gd name="connsiteY4" fmla="*/ 122291 h 4345044"/>
              <a:gd name="connsiteX5" fmla="*/ 6669 w 8539481"/>
              <a:gd name="connsiteY5" fmla="*/ 4234712 h 4345044"/>
              <a:gd name="connsiteX6" fmla="*/ 99538 w 8539481"/>
              <a:gd name="connsiteY6" fmla="*/ 4336312 h 4345044"/>
              <a:gd name="connsiteX7" fmla="*/ 6596381 w 8539481"/>
              <a:gd name="connsiteY7" fmla="*/ 4336311 h 4345044"/>
              <a:gd name="connsiteX0" fmla="*/ 8539481 w 8539481"/>
              <a:gd name="connsiteY0" fmla="*/ 3162407 h 4364940"/>
              <a:gd name="connsiteX1" fmla="*/ 8539481 w 8539481"/>
              <a:gd name="connsiteY1" fmla="*/ 122344 h 4364940"/>
              <a:gd name="connsiteX2" fmla="*/ 8410099 w 8539481"/>
              <a:gd name="connsiteY2" fmla="*/ 41383 h 4364940"/>
              <a:gd name="connsiteX3" fmla="*/ 103507 w 8539481"/>
              <a:gd name="connsiteY3" fmla="*/ 41383 h 4364940"/>
              <a:gd name="connsiteX4" fmla="*/ 6669 w 8539481"/>
              <a:gd name="connsiteY4" fmla="*/ 142187 h 4364940"/>
              <a:gd name="connsiteX5" fmla="*/ 6669 w 8539481"/>
              <a:gd name="connsiteY5" fmla="*/ 4254608 h 4364940"/>
              <a:gd name="connsiteX6" fmla="*/ 99538 w 8539481"/>
              <a:gd name="connsiteY6" fmla="*/ 4356208 h 4364940"/>
              <a:gd name="connsiteX7" fmla="*/ 6596381 w 8539481"/>
              <a:gd name="connsiteY7" fmla="*/ 4356207 h 4364940"/>
              <a:gd name="connsiteX0" fmla="*/ 8539481 w 8546253"/>
              <a:gd name="connsiteY0" fmla="*/ 3162407 h 4364940"/>
              <a:gd name="connsiteX1" fmla="*/ 8539481 w 8546253"/>
              <a:gd name="connsiteY1" fmla="*/ 122344 h 4364940"/>
              <a:gd name="connsiteX2" fmla="*/ 8410099 w 8546253"/>
              <a:gd name="connsiteY2" fmla="*/ 41383 h 4364940"/>
              <a:gd name="connsiteX3" fmla="*/ 103507 w 8546253"/>
              <a:gd name="connsiteY3" fmla="*/ 41383 h 4364940"/>
              <a:gd name="connsiteX4" fmla="*/ 6669 w 8546253"/>
              <a:gd name="connsiteY4" fmla="*/ 142187 h 4364940"/>
              <a:gd name="connsiteX5" fmla="*/ 6669 w 8546253"/>
              <a:gd name="connsiteY5" fmla="*/ 4254608 h 4364940"/>
              <a:gd name="connsiteX6" fmla="*/ 99538 w 8546253"/>
              <a:gd name="connsiteY6" fmla="*/ 4356208 h 4364940"/>
              <a:gd name="connsiteX7" fmla="*/ 6596381 w 8546253"/>
              <a:gd name="connsiteY7" fmla="*/ 4356207 h 4364940"/>
              <a:gd name="connsiteX0" fmla="*/ 8539481 w 8559747"/>
              <a:gd name="connsiteY0" fmla="*/ 3162407 h 4364940"/>
              <a:gd name="connsiteX1" fmla="*/ 8539481 w 8559747"/>
              <a:gd name="connsiteY1" fmla="*/ 122344 h 4364940"/>
              <a:gd name="connsiteX2" fmla="*/ 8410099 w 8559747"/>
              <a:gd name="connsiteY2" fmla="*/ 41383 h 4364940"/>
              <a:gd name="connsiteX3" fmla="*/ 103507 w 8559747"/>
              <a:gd name="connsiteY3" fmla="*/ 41383 h 4364940"/>
              <a:gd name="connsiteX4" fmla="*/ 6669 w 8559747"/>
              <a:gd name="connsiteY4" fmla="*/ 142187 h 4364940"/>
              <a:gd name="connsiteX5" fmla="*/ 6669 w 8559747"/>
              <a:gd name="connsiteY5" fmla="*/ 4254608 h 4364940"/>
              <a:gd name="connsiteX6" fmla="*/ 99538 w 8559747"/>
              <a:gd name="connsiteY6" fmla="*/ 4356208 h 4364940"/>
              <a:gd name="connsiteX7" fmla="*/ 6596381 w 8559747"/>
              <a:gd name="connsiteY7" fmla="*/ 4356207 h 4364940"/>
              <a:gd name="connsiteX0" fmla="*/ 8539481 w 8582766"/>
              <a:gd name="connsiteY0" fmla="*/ 3162407 h 4364940"/>
              <a:gd name="connsiteX1" fmla="*/ 8539481 w 8582766"/>
              <a:gd name="connsiteY1" fmla="*/ 122344 h 4364940"/>
              <a:gd name="connsiteX2" fmla="*/ 8410099 w 8582766"/>
              <a:gd name="connsiteY2" fmla="*/ 41383 h 4364940"/>
              <a:gd name="connsiteX3" fmla="*/ 103507 w 8582766"/>
              <a:gd name="connsiteY3" fmla="*/ 41383 h 4364940"/>
              <a:gd name="connsiteX4" fmla="*/ 6669 w 8582766"/>
              <a:gd name="connsiteY4" fmla="*/ 142187 h 4364940"/>
              <a:gd name="connsiteX5" fmla="*/ 6669 w 8582766"/>
              <a:gd name="connsiteY5" fmla="*/ 4254608 h 4364940"/>
              <a:gd name="connsiteX6" fmla="*/ 99538 w 8582766"/>
              <a:gd name="connsiteY6" fmla="*/ 4356208 h 4364940"/>
              <a:gd name="connsiteX7" fmla="*/ 6596381 w 8582766"/>
              <a:gd name="connsiteY7" fmla="*/ 4356207 h 4364940"/>
              <a:gd name="connsiteX0" fmla="*/ 8539481 w 8628010"/>
              <a:gd name="connsiteY0" fmla="*/ 3162407 h 4364940"/>
              <a:gd name="connsiteX1" fmla="*/ 8539481 w 8628010"/>
              <a:gd name="connsiteY1" fmla="*/ 122344 h 4364940"/>
              <a:gd name="connsiteX2" fmla="*/ 8455343 w 8628010"/>
              <a:gd name="connsiteY2" fmla="*/ 41383 h 4364940"/>
              <a:gd name="connsiteX3" fmla="*/ 103507 w 8628010"/>
              <a:gd name="connsiteY3" fmla="*/ 41383 h 4364940"/>
              <a:gd name="connsiteX4" fmla="*/ 6669 w 8628010"/>
              <a:gd name="connsiteY4" fmla="*/ 142187 h 4364940"/>
              <a:gd name="connsiteX5" fmla="*/ 6669 w 8628010"/>
              <a:gd name="connsiteY5" fmla="*/ 4254608 h 4364940"/>
              <a:gd name="connsiteX6" fmla="*/ 99538 w 8628010"/>
              <a:gd name="connsiteY6" fmla="*/ 4356208 h 4364940"/>
              <a:gd name="connsiteX7" fmla="*/ 6596381 w 8628010"/>
              <a:gd name="connsiteY7" fmla="*/ 4356207 h 4364940"/>
              <a:gd name="connsiteX0" fmla="*/ 8539481 w 8539481"/>
              <a:gd name="connsiteY0" fmla="*/ 3162407 h 4364940"/>
              <a:gd name="connsiteX1" fmla="*/ 8539481 w 8539481"/>
              <a:gd name="connsiteY1" fmla="*/ 122344 h 4364940"/>
              <a:gd name="connsiteX2" fmla="*/ 8455343 w 8539481"/>
              <a:gd name="connsiteY2" fmla="*/ 41383 h 4364940"/>
              <a:gd name="connsiteX3" fmla="*/ 103507 w 8539481"/>
              <a:gd name="connsiteY3" fmla="*/ 41383 h 4364940"/>
              <a:gd name="connsiteX4" fmla="*/ 6669 w 8539481"/>
              <a:gd name="connsiteY4" fmla="*/ 142187 h 4364940"/>
              <a:gd name="connsiteX5" fmla="*/ 6669 w 8539481"/>
              <a:gd name="connsiteY5" fmla="*/ 4254608 h 4364940"/>
              <a:gd name="connsiteX6" fmla="*/ 99538 w 8539481"/>
              <a:gd name="connsiteY6" fmla="*/ 4356208 h 4364940"/>
              <a:gd name="connsiteX7" fmla="*/ 6596381 w 8539481"/>
              <a:gd name="connsiteY7" fmla="*/ 4356207 h 4364940"/>
              <a:gd name="connsiteX0" fmla="*/ 8539481 w 8539481"/>
              <a:gd name="connsiteY0" fmla="*/ 3162407 h 4364940"/>
              <a:gd name="connsiteX1" fmla="*/ 8539481 w 8539481"/>
              <a:gd name="connsiteY1" fmla="*/ 122344 h 4364940"/>
              <a:gd name="connsiteX2" fmla="*/ 8455343 w 8539481"/>
              <a:gd name="connsiteY2" fmla="*/ 41383 h 4364940"/>
              <a:gd name="connsiteX3" fmla="*/ 103507 w 8539481"/>
              <a:gd name="connsiteY3" fmla="*/ 41383 h 4364940"/>
              <a:gd name="connsiteX4" fmla="*/ 6669 w 8539481"/>
              <a:gd name="connsiteY4" fmla="*/ 142187 h 4364940"/>
              <a:gd name="connsiteX5" fmla="*/ 6669 w 8539481"/>
              <a:gd name="connsiteY5" fmla="*/ 4254608 h 4364940"/>
              <a:gd name="connsiteX6" fmla="*/ 99538 w 8539481"/>
              <a:gd name="connsiteY6" fmla="*/ 4356208 h 4364940"/>
              <a:gd name="connsiteX7" fmla="*/ 6596381 w 8539481"/>
              <a:gd name="connsiteY7" fmla="*/ 4356207 h 4364940"/>
              <a:gd name="connsiteX0" fmla="*/ 8539481 w 8539481"/>
              <a:gd name="connsiteY0" fmla="*/ 3142511 h 4345044"/>
              <a:gd name="connsiteX1" fmla="*/ 8539481 w 8539481"/>
              <a:gd name="connsiteY1" fmla="*/ 102448 h 4345044"/>
              <a:gd name="connsiteX2" fmla="*/ 8455343 w 8539481"/>
              <a:gd name="connsiteY2" fmla="*/ 21487 h 4345044"/>
              <a:gd name="connsiteX3" fmla="*/ 103507 w 8539481"/>
              <a:gd name="connsiteY3" fmla="*/ 21487 h 4345044"/>
              <a:gd name="connsiteX4" fmla="*/ 6669 w 8539481"/>
              <a:gd name="connsiteY4" fmla="*/ 122291 h 4345044"/>
              <a:gd name="connsiteX5" fmla="*/ 6669 w 8539481"/>
              <a:gd name="connsiteY5" fmla="*/ 4234712 h 4345044"/>
              <a:gd name="connsiteX6" fmla="*/ 99538 w 8539481"/>
              <a:gd name="connsiteY6" fmla="*/ 4336312 h 4345044"/>
              <a:gd name="connsiteX7" fmla="*/ 6596381 w 8539481"/>
              <a:gd name="connsiteY7" fmla="*/ 4336311 h 4345044"/>
              <a:gd name="connsiteX0" fmla="*/ 8542656 w 8542656"/>
              <a:gd name="connsiteY0" fmla="*/ 558061 h 4345044"/>
              <a:gd name="connsiteX1" fmla="*/ 8539481 w 8542656"/>
              <a:gd name="connsiteY1" fmla="*/ 102448 h 4345044"/>
              <a:gd name="connsiteX2" fmla="*/ 8455343 w 8542656"/>
              <a:gd name="connsiteY2" fmla="*/ 21487 h 4345044"/>
              <a:gd name="connsiteX3" fmla="*/ 103507 w 8542656"/>
              <a:gd name="connsiteY3" fmla="*/ 21487 h 4345044"/>
              <a:gd name="connsiteX4" fmla="*/ 6669 w 8542656"/>
              <a:gd name="connsiteY4" fmla="*/ 122291 h 4345044"/>
              <a:gd name="connsiteX5" fmla="*/ 6669 w 8542656"/>
              <a:gd name="connsiteY5" fmla="*/ 4234712 h 4345044"/>
              <a:gd name="connsiteX6" fmla="*/ 99538 w 8542656"/>
              <a:gd name="connsiteY6" fmla="*/ 4336312 h 4345044"/>
              <a:gd name="connsiteX7" fmla="*/ 6596381 w 8542656"/>
              <a:gd name="connsiteY7" fmla="*/ 4336311 h 4345044"/>
              <a:gd name="connsiteX0" fmla="*/ 8542655 w 8542655"/>
              <a:gd name="connsiteY0" fmla="*/ 881912 h 4345044"/>
              <a:gd name="connsiteX1" fmla="*/ 8539481 w 8542655"/>
              <a:gd name="connsiteY1" fmla="*/ 102448 h 4345044"/>
              <a:gd name="connsiteX2" fmla="*/ 8455343 w 8542655"/>
              <a:gd name="connsiteY2" fmla="*/ 21487 h 4345044"/>
              <a:gd name="connsiteX3" fmla="*/ 103507 w 8542655"/>
              <a:gd name="connsiteY3" fmla="*/ 21487 h 4345044"/>
              <a:gd name="connsiteX4" fmla="*/ 6669 w 8542655"/>
              <a:gd name="connsiteY4" fmla="*/ 122291 h 4345044"/>
              <a:gd name="connsiteX5" fmla="*/ 6669 w 8542655"/>
              <a:gd name="connsiteY5" fmla="*/ 4234712 h 4345044"/>
              <a:gd name="connsiteX6" fmla="*/ 99538 w 8542655"/>
              <a:gd name="connsiteY6" fmla="*/ 4336312 h 4345044"/>
              <a:gd name="connsiteX7" fmla="*/ 6596381 w 8542655"/>
              <a:gd name="connsiteY7" fmla="*/ 4336311 h 4345044"/>
              <a:gd name="connsiteX0" fmla="*/ 8542655 w 8542655"/>
              <a:gd name="connsiteY0" fmla="*/ 881912 h 4345044"/>
              <a:gd name="connsiteX1" fmla="*/ 8539481 w 8542655"/>
              <a:gd name="connsiteY1" fmla="*/ 102448 h 4345044"/>
              <a:gd name="connsiteX2" fmla="*/ 8455343 w 8542655"/>
              <a:gd name="connsiteY2" fmla="*/ 21487 h 4345044"/>
              <a:gd name="connsiteX3" fmla="*/ 103507 w 8542655"/>
              <a:gd name="connsiteY3" fmla="*/ 21487 h 4345044"/>
              <a:gd name="connsiteX4" fmla="*/ 6669 w 8542655"/>
              <a:gd name="connsiteY4" fmla="*/ 122291 h 4345044"/>
              <a:gd name="connsiteX5" fmla="*/ 6669 w 8542655"/>
              <a:gd name="connsiteY5" fmla="*/ 4234712 h 4345044"/>
              <a:gd name="connsiteX6" fmla="*/ 99538 w 8542655"/>
              <a:gd name="connsiteY6" fmla="*/ 4336312 h 4345044"/>
              <a:gd name="connsiteX0" fmla="*/ 8542655 w 8542655"/>
              <a:gd name="connsiteY0" fmla="*/ 881912 h 4234712"/>
              <a:gd name="connsiteX1" fmla="*/ 8539481 w 8542655"/>
              <a:gd name="connsiteY1" fmla="*/ 102448 h 4234712"/>
              <a:gd name="connsiteX2" fmla="*/ 8455343 w 8542655"/>
              <a:gd name="connsiteY2" fmla="*/ 21487 h 4234712"/>
              <a:gd name="connsiteX3" fmla="*/ 103507 w 8542655"/>
              <a:gd name="connsiteY3" fmla="*/ 21487 h 4234712"/>
              <a:gd name="connsiteX4" fmla="*/ 6669 w 8542655"/>
              <a:gd name="connsiteY4" fmla="*/ 122291 h 4234712"/>
              <a:gd name="connsiteX5" fmla="*/ 6669 w 8542655"/>
              <a:gd name="connsiteY5" fmla="*/ 4234712 h 4234712"/>
              <a:gd name="connsiteX0" fmla="*/ 8542655 w 8542655"/>
              <a:gd name="connsiteY0" fmla="*/ 881912 h 881912"/>
              <a:gd name="connsiteX1" fmla="*/ 8539481 w 8542655"/>
              <a:gd name="connsiteY1" fmla="*/ 102448 h 881912"/>
              <a:gd name="connsiteX2" fmla="*/ 8455343 w 8542655"/>
              <a:gd name="connsiteY2" fmla="*/ 21487 h 881912"/>
              <a:gd name="connsiteX3" fmla="*/ 103507 w 8542655"/>
              <a:gd name="connsiteY3" fmla="*/ 21487 h 881912"/>
              <a:gd name="connsiteX4" fmla="*/ 6669 w 8542655"/>
              <a:gd name="connsiteY4" fmla="*/ 122291 h 881912"/>
              <a:gd name="connsiteX0" fmla="*/ 8439148 w 8439148"/>
              <a:gd name="connsiteY0" fmla="*/ 870852 h 870852"/>
              <a:gd name="connsiteX1" fmla="*/ 8435974 w 8439148"/>
              <a:gd name="connsiteY1" fmla="*/ 91388 h 870852"/>
              <a:gd name="connsiteX2" fmla="*/ 8351836 w 8439148"/>
              <a:gd name="connsiteY2" fmla="*/ 10427 h 870852"/>
              <a:gd name="connsiteX3" fmla="*/ 0 w 8439148"/>
              <a:gd name="connsiteY3" fmla="*/ 10427 h 870852"/>
              <a:gd name="connsiteX0" fmla="*/ 5356223 w 5356223"/>
              <a:gd name="connsiteY0" fmla="*/ 870852 h 870852"/>
              <a:gd name="connsiteX1" fmla="*/ 5353049 w 5356223"/>
              <a:gd name="connsiteY1" fmla="*/ 91388 h 870852"/>
              <a:gd name="connsiteX2" fmla="*/ 5268911 w 5356223"/>
              <a:gd name="connsiteY2" fmla="*/ 10427 h 870852"/>
              <a:gd name="connsiteX3" fmla="*/ 0 w 5356223"/>
              <a:gd name="connsiteY3" fmla="*/ 17515 h 870852"/>
              <a:gd name="connsiteX0" fmla="*/ 6042023 w 6042023"/>
              <a:gd name="connsiteY0" fmla="*/ 870852 h 870852"/>
              <a:gd name="connsiteX1" fmla="*/ 6038849 w 6042023"/>
              <a:gd name="connsiteY1" fmla="*/ 91388 h 870852"/>
              <a:gd name="connsiteX2" fmla="*/ 5954711 w 6042023"/>
              <a:gd name="connsiteY2" fmla="*/ 10427 h 870852"/>
              <a:gd name="connsiteX3" fmla="*/ 0 w 6042023"/>
              <a:gd name="connsiteY3" fmla="*/ 17515 h 870852"/>
              <a:gd name="connsiteX0" fmla="*/ 6042023 w 6042023"/>
              <a:gd name="connsiteY0" fmla="*/ 870852 h 870852"/>
              <a:gd name="connsiteX1" fmla="*/ 6038849 w 6042023"/>
              <a:gd name="connsiteY1" fmla="*/ 91388 h 870852"/>
              <a:gd name="connsiteX2" fmla="*/ 5954711 w 6042023"/>
              <a:gd name="connsiteY2" fmla="*/ 17515 h 870852"/>
              <a:gd name="connsiteX3" fmla="*/ 0 w 6042023"/>
              <a:gd name="connsiteY3" fmla="*/ 17515 h 870852"/>
              <a:gd name="connsiteX0" fmla="*/ 6032178 w 6039907"/>
              <a:gd name="connsiteY0" fmla="*/ 1664602 h 1664602"/>
              <a:gd name="connsiteX1" fmla="*/ 6038849 w 6039907"/>
              <a:gd name="connsiteY1" fmla="*/ 91388 h 1664602"/>
              <a:gd name="connsiteX2" fmla="*/ 5954711 w 6039907"/>
              <a:gd name="connsiteY2" fmla="*/ 17515 h 1664602"/>
              <a:gd name="connsiteX3" fmla="*/ 0 w 6039907"/>
              <a:gd name="connsiteY3" fmla="*/ 17515 h 1664602"/>
              <a:gd name="connsiteX0" fmla="*/ 6038528 w 6039907"/>
              <a:gd name="connsiteY0" fmla="*/ 1664602 h 1664602"/>
              <a:gd name="connsiteX1" fmla="*/ 6038849 w 6039907"/>
              <a:gd name="connsiteY1" fmla="*/ 91388 h 1664602"/>
              <a:gd name="connsiteX2" fmla="*/ 5954711 w 6039907"/>
              <a:gd name="connsiteY2" fmla="*/ 17515 h 1664602"/>
              <a:gd name="connsiteX3" fmla="*/ 0 w 6039907"/>
              <a:gd name="connsiteY3" fmla="*/ 17515 h 1664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39907" h="1664602">
                <a:moveTo>
                  <a:pt x="6038528" y="1664602"/>
                </a:moveTo>
                <a:cubicBezTo>
                  <a:pt x="6037470" y="1512731"/>
                  <a:pt x="6039907" y="243259"/>
                  <a:pt x="6038849" y="91388"/>
                </a:cubicBezTo>
                <a:cubicBezTo>
                  <a:pt x="6034775" y="0"/>
                  <a:pt x="5986091" y="23970"/>
                  <a:pt x="5954711" y="17515"/>
                </a:cubicBezTo>
                <a:lnTo>
                  <a:pt x="0" y="17515"/>
                </a:lnTo>
              </a:path>
            </a:pathLst>
          </a:custGeom>
          <a:noFill/>
          <a:ln w="19050" cap="rnd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49" name="Group 106"/>
          <p:cNvGrpSpPr>
            <a:grpSpLocks/>
          </p:cNvGrpSpPr>
          <p:nvPr userDrawn="1"/>
        </p:nvGrpSpPr>
        <p:grpSpPr bwMode="auto">
          <a:xfrm>
            <a:off x="8186738" y="5729288"/>
            <a:ext cx="650875" cy="411162"/>
            <a:chOff x="7715563" y="5785391"/>
            <a:chExt cx="651247" cy="411523"/>
          </a:xfrm>
        </p:grpSpPr>
        <p:sp>
          <p:nvSpPr>
            <p:cNvPr id="50" name="Freeform 29"/>
            <p:cNvSpPr>
              <a:spLocks/>
            </p:cNvSpPr>
            <p:nvPr userDrawn="1"/>
          </p:nvSpPr>
          <p:spPr bwMode="auto">
            <a:xfrm>
              <a:off x="7715563" y="5785391"/>
              <a:ext cx="651247" cy="411523"/>
            </a:xfrm>
            <a:custGeom>
              <a:avLst/>
              <a:gdLst/>
              <a:ahLst/>
              <a:cxnLst>
                <a:cxn ang="0">
                  <a:pos x="300" y="168"/>
                </a:cxn>
                <a:cxn ang="0">
                  <a:pos x="280" y="188"/>
                </a:cxn>
                <a:cxn ang="0">
                  <a:pos x="20" y="188"/>
                </a:cxn>
                <a:cxn ang="0">
                  <a:pos x="0" y="168"/>
                </a:cxn>
                <a:cxn ang="0">
                  <a:pos x="273" y="168"/>
                </a:cxn>
                <a:cxn ang="0">
                  <a:pos x="273" y="0"/>
                </a:cxn>
                <a:cxn ang="0">
                  <a:pos x="27" y="0"/>
                </a:cxn>
                <a:cxn ang="0">
                  <a:pos x="27" y="145"/>
                </a:cxn>
              </a:cxnLst>
              <a:rect l="0" t="0" r="r" b="b"/>
              <a:pathLst>
                <a:path w="300" h="188">
                  <a:moveTo>
                    <a:pt x="300" y="168"/>
                  </a:moveTo>
                  <a:cubicBezTo>
                    <a:pt x="300" y="179"/>
                    <a:pt x="291" y="188"/>
                    <a:pt x="280" y="188"/>
                  </a:cubicBezTo>
                  <a:cubicBezTo>
                    <a:pt x="20" y="188"/>
                    <a:pt x="20" y="188"/>
                    <a:pt x="20" y="188"/>
                  </a:cubicBezTo>
                  <a:cubicBezTo>
                    <a:pt x="9" y="188"/>
                    <a:pt x="0" y="179"/>
                    <a:pt x="0" y="168"/>
                  </a:cubicBezTo>
                  <a:cubicBezTo>
                    <a:pt x="273" y="168"/>
                    <a:pt x="273" y="168"/>
                    <a:pt x="273" y="168"/>
                  </a:cubicBezTo>
                  <a:cubicBezTo>
                    <a:pt x="273" y="0"/>
                    <a:pt x="273" y="0"/>
                    <a:pt x="273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145"/>
                    <a:pt x="27" y="145"/>
                    <a:pt x="27" y="145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51" name="Group 116"/>
            <p:cNvGrpSpPr>
              <a:grpSpLocks/>
            </p:cNvGrpSpPr>
            <p:nvPr userDrawn="1"/>
          </p:nvGrpSpPr>
          <p:grpSpPr bwMode="auto">
            <a:xfrm>
              <a:off x="7904583" y="5833058"/>
              <a:ext cx="273206" cy="273290"/>
              <a:chOff x="7191463" y="5528166"/>
              <a:chExt cx="484324" cy="484473"/>
            </a:xfrm>
          </p:grpSpPr>
          <p:sp>
            <p:nvSpPr>
              <p:cNvPr id="52" name="Donut 63"/>
              <p:cNvSpPr/>
              <p:nvPr userDrawn="1"/>
            </p:nvSpPr>
            <p:spPr>
              <a:xfrm>
                <a:off x="7191463" y="5528166"/>
                <a:ext cx="484324" cy="484473"/>
              </a:xfrm>
              <a:prstGeom prst="donut">
                <a:avLst>
                  <a:gd name="adj" fmla="val 28950"/>
                </a:avLst>
              </a:prstGeom>
              <a:no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53" name="Straight Connector 59"/>
              <p:cNvCxnSpPr>
                <a:cxnSpLocks noChangeShapeType="1"/>
              </p:cNvCxnSpPr>
              <p:nvPr userDrawn="1"/>
            </p:nvCxnSpPr>
            <p:spPr bwMode="auto">
              <a:xfrm>
                <a:off x="7433628" y="5536407"/>
                <a:ext cx="0" cy="130969"/>
              </a:xfrm>
              <a:prstGeom prst="line">
                <a:avLst/>
              </a:prstGeom>
              <a:noFill/>
              <a:ln w="19050" cap="rnd">
                <a:solidFill>
                  <a:schemeClr val="bg1"/>
                </a:solidFill>
                <a:round/>
                <a:headEnd/>
                <a:tailEnd/>
              </a:ln>
            </p:spPr>
          </p:cxnSp>
          <p:cxnSp>
            <p:nvCxnSpPr>
              <p:cNvPr id="54" name="Straight Connector 60"/>
              <p:cNvCxnSpPr>
                <a:cxnSpLocks noChangeShapeType="1"/>
              </p:cNvCxnSpPr>
              <p:nvPr userDrawn="1"/>
            </p:nvCxnSpPr>
            <p:spPr bwMode="auto">
              <a:xfrm>
                <a:off x="7495541" y="5854700"/>
                <a:ext cx="72072" cy="103188"/>
              </a:xfrm>
              <a:prstGeom prst="line">
                <a:avLst/>
              </a:prstGeom>
              <a:noFill/>
              <a:ln w="19050" cap="rnd">
                <a:solidFill>
                  <a:schemeClr val="bg1"/>
                </a:solidFill>
                <a:round/>
                <a:headEnd/>
                <a:tailEnd/>
              </a:ln>
            </p:spPr>
          </p:cxnSp>
          <p:cxnSp>
            <p:nvCxnSpPr>
              <p:cNvPr id="55" name="Straight Connector 61"/>
              <p:cNvCxnSpPr>
                <a:cxnSpLocks noChangeShapeType="1"/>
              </p:cNvCxnSpPr>
              <p:nvPr userDrawn="1"/>
            </p:nvCxnSpPr>
            <p:spPr bwMode="auto">
              <a:xfrm flipH="1">
                <a:off x="7297897" y="5854700"/>
                <a:ext cx="72072" cy="103188"/>
              </a:xfrm>
              <a:prstGeom prst="line">
                <a:avLst/>
              </a:prstGeom>
              <a:noFill/>
              <a:ln w="19050" cap="rnd">
                <a:solidFill>
                  <a:schemeClr val="bg1"/>
                </a:solidFill>
                <a:round/>
                <a:headEnd/>
                <a:tailEnd/>
              </a:ln>
            </p:spPr>
          </p:cxnSp>
          <p:cxnSp>
            <p:nvCxnSpPr>
              <p:cNvPr id="56" name="Straight Connector 62"/>
              <p:cNvCxnSpPr>
                <a:cxnSpLocks noChangeShapeType="1"/>
              </p:cNvCxnSpPr>
              <p:nvPr userDrawn="1"/>
            </p:nvCxnSpPr>
            <p:spPr bwMode="auto">
              <a:xfrm flipH="1" flipV="1">
                <a:off x="7205030" y="5691982"/>
                <a:ext cx="124458" cy="44449"/>
              </a:xfrm>
              <a:prstGeom prst="line">
                <a:avLst/>
              </a:prstGeom>
              <a:noFill/>
              <a:ln w="19050" cap="rnd">
                <a:solidFill>
                  <a:schemeClr val="bg1"/>
                </a:solidFill>
                <a:round/>
                <a:headEnd/>
                <a:tailEnd/>
              </a:ln>
            </p:spPr>
          </p:cxnSp>
          <p:cxnSp>
            <p:nvCxnSpPr>
              <p:cNvPr id="57" name="Straight Connector 63"/>
              <p:cNvCxnSpPr>
                <a:cxnSpLocks noChangeShapeType="1"/>
              </p:cNvCxnSpPr>
              <p:nvPr userDrawn="1"/>
            </p:nvCxnSpPr>
            <p:spPr bwMode="auto">
              <a:xfrm flipV="1">
                <a:off x="7536022" y="5691982"/>
                <a:ext cx="124458" cy="44449"/>
              </a:xfrm>
              <a:prstGeom prst="line">
                <a:avLst/>
              </a:prstGeom>
              <a:noFill/>
              <a:ln w="19050" cap="rnd">
                <a:solidFill>
                  <a:schemeClr val="bg1"/>
                </a:solidFill>
                <a:round/>
                <a:headEnd/>
                <a:tailEnd/>
              </a:ln>
            </p:spPr>
          </p:cxnSp>
        </p:grpSp>
      </p:grpSp>
      <p:pic>
        <p:nvPicPr>
          <p:cNvPr id="58" name="Picture 13" descr="Capgemini_logo_closing.jpg"/>
          <p:cNvPicPr>
            <a:picLocks noChangeAspect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04801" y="703324"/>
            <a:ext cx="2285999" cy="573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" name="Picture 2" descr="C:\Documents and Settings\sarumuga\Desktop\Subha\CG Univerity\CG Univerity Jobs\University_logo_Col.jpg"/>
          <p:cNvPicPr>
            <a:picLocks noChangeAspect="1" noChangeArrowheads="1"/>
          </p:cNvPicPr>
          <p:nvPr userDrawn="1"/>
        </p:nvPicPr>
        <p:blipFill>
          <a:blip r:embed="rId11" cstate="print"/>
          <a:srcRect l="10027" t="21416" r="9454" b="21008"/>
          <a:stretch>
            <a:fillRect/>
          </a:stretch>
        </p:blipFill>
        <p:spPr bwMode="auto">
          <a:xfrm>
            <a:off x="6476999" y="712221"/>
            <a:ext cx="2286001" cy="545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0" name="Title 1"/>
          <p:cNvSpPr>
            <a:spLocks noGrp="1"/>
          </p:cNvSpPr>
          <p:nvPr>
            <p:ph type="ctrTitle"/>
          </p:nvPr>
        </p:nvSpPr>
        <p:spPr>
          <a:xfrm>
            <a:off x="541020" y="4532667"/>
            <a:ext cx="7772400" cy="1060450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3200" baseline="0">
                <a:solidFill>
                  <a:schemeClr val="bg1"/>
                </a:solidFill>
                <a:latin typeface="University Handwriting" pitchFamily="2" charset="-128"/>
                <a:ea typeface="University Handwriting" pitchFamily="2" charset="-128"/>
                <a:cs typeface="University Handwriting" pitchFamily="2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" name="Subtitle 2"/>
          <p:cNvSpPr>
            <a:spLocks noGrp="1"/>
          </p:cNvSpPr>
          <p:nvPr>
            <p:ph type="subTitle" idx="1"/>
          </p:nvPr>
        </p:nvSpPr>
        <p:spPr>
          <a:xfrm>
            <a:off x="541020" y="5568152"/>
            <a:ext cx="5707380" cy="54864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400" baseline="0">
                <a:solidFill>
                  <a:schemeClr val="bg1"/>
                </a:solidFill>
                <a:latin typeface="Arial" pitchFamily="34" charset="0"/>
                <a:ea typeface="University Handwriting" pitchFamily="2" charset="-128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US" dirty="0"/>
          </a:p>
        </p:txBody>
      </p:sp>
      <p:sp>
        <p:nvSpPr>
          <p:cNvPr id="62" name="Date Placeholder 3"/>
          <p:cNvSpPr>
            <a:spLocks noGrp="1"/>
          </p:cNvSpPr>
          <p:nvPr>
            <p:ph type="dt" sz="half" idx="2"/>
          </p:nvPr>
        </p:nvSpPr>
        <p:spPr>
          <a:xfrm>
            <a:off x="304800" y="6445250"/>
            <a:ext cx="1752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0" y="180975"/>
            <a:ext cx="9151938" cy="752475"/>
          </a:xfrm>
          <a:custGeom>
            <a:avLst/>
            <a:gdLst>
              <a:gd name="connsiteX0" fmla="*/ 9509 w 10000"/>
              <a:gd name="connsiteY0" fmla="*/ 4537 h 10000"/>
              <a:gd name="connsiteX1" fmla="*/ 972 w 10000"/>
              <a:gd name="connsiteY1" fmla="*/ 4537 h 10000"/>
              <a:gd name="connsiteX2" fmla="*/ 484 w 10000"/>
              <a:gd name="connsiteY2" fmla="*/ 9122 h 10000"/>
              <a:gd name="connsiteX3" fmla="*/ 0 w 10000"/>
              <a:gd name="connsiteY3" fmla="*/ 4537 h 10000"/>
              <a:gd name="connsiteX4" fmla="*/ 0 w 10000"/>
              <a:gd name="connsiteY4" fmla="*/ 5463 h 10000"/>
              <a:gd name="connsiteX5" fmla="*/ 484 w 10000"/>
              <a:gd name="connsiteY5" fmla="*/ 10000 h 10000"/>
              <a:gd name="connsiteX6" fmla="*/ 972 w 10000"/>
              <a:gd name="connsiteY6" fmla="*/ 5463 h 10000"/>
              <a:gd name="connsiteX7" fmla="*/ 8912 w 10000"/>
              <a:gd name="connsiteY7" fmla="*/ 5514 h 10000"/>
              <a:gd name="connsiteX8" fmla="*/ 10000 w 10000"/>
              <a:gd name="connsiteY8" fmla="*/ 927 h 10000"/>
              <a:gd name="connsiteX9" fmla="*/ 10000 w 10000"/>
              <a:gd name="connsiteY9" fmla="*/ 0 h 10000"/>
              <a:gd name="connsiteX10" fmla="*/ 9509 w 10000"/>
              <a:gd name="connsiteY10" fmla="*/ 4537 h 10000"/>
              <a:gd name="connsiteX0" fmla="*/ 8912 w 10000"/>
              <a:gd name="connsiteY0" fmla="*/ 4577 h 10000"/>
              <a:gd name="connsiteX1" fmla="*/ 972 w 10000"/>
              <a:gd name="connsiteY1" fmla="*/ 4537 h 10000"/>
              <a:gd name="connsiteX2" fmla="*/ 484 w 10000"/>
              <a:gd name="connsiteY2" fmla="*/ 9122 h 10000"/>
              <a:gd name="connsiteX3" fmla="*/ 0 w 10000"/>
              <a:gd name="connsiteY3" fmla="*/ 4537 h 10000"/>
              <a:gd name="connsiteX4" fmla="*/ 0 w 10000"/>
              <a:gd name="connsiteY4" fmla="*/ 5463 h 10000"/>
              <a:gd name="connsiteX5" fmla="*/ 484 w 10000"/>
              <a:gd name="connsiteY5" fmla="*/ 10000 h 10000"/>
              <a:gd name="connsiteX6" fmla="*/ 972 w 10000"/>
              <a:gd name="connsiteY6" fmla="*/ 5463 h 10000"/>
              <a:gd name="connsiteX7" fmla="*/ 8912 w 10000"/>
              <a:gd name="connsiteY7" fmla="*/ 5514 h 10000"/>
              <a:gd name="connsiteX8" fmla="*/ 10000 w 10000"/>
              <a:gd name="connsiteY8" fmla="*/ 927 h 10000"/>
              <a:gd name="connsiteX9" fmla="*/ 10000 w 10000"/>
              <a:gd name="connsiteY9" fmla="*/ 0 h 10000"/>
              <a:gd name="connsiteX10" fmla="*/ 8912 w 10000"/>
              <a:gd name="connsiteY10" fmla="*/ 4577 h 10000"/>
              <a:gd name="connsiteX0" fmla="*/ 8912 w 10000"/>
              <a:gd name="connsiteY0" fmla="*/ 4383 h 9806"/>
              <a:gd name="connsiteX1" fmla="*/ 972 w 10000"/>
              <a:gd name="connsiteY1" fmla="*/ 4343 h 9806"/>
              <a:gd name="connsiteX2" fmla="*/ 484 w 10000"/>
              <a:gd name="connsiteY2" fmla="*/ 8928 h 9806"/>
              <a:gd name="connsiteX3" fmla="*/ 0 w 10000"/>
              <a:gd name="connsiteY3" fmla="*/ 4343 h 9806"/>
              <a:gd name="connsiteX4" fmla="*/ 0 w 10000"/>
              <a:gd name="connsiteY4" fmla="*/ 5269 h 9806"/>
              <a:gd name="connsiteX5" fmla="*/ 484 w 10000"/>
              <a:gd name="connsiteY5" fmla="*/ 9806 h 9806"/>
              <a:gd name="connsiteX6" fmla="*/ 972 w 10000"/>
              <a:gd name="connsiteY6" fmla="*/ 5269 h 9806"/>
              <a:gd name="connsiteX7" fmla="*/ 8912 w 10000"/>
              <a:gd name="connsiteY7" fmla="*/ 5320 h 9806"/>
              <a:gd name="connsiteX8" fmla="*/ 10000 w 10000"/>
              <a:gd name="connsiteY8" fmla="*/ 733 h 9806"/>
              <a:gd name="connsiteX9" fmla="*/ 9231 w 10000"/>
              <a:gd name="connsiteY9" fmla="*/ 0 h 9806"/>
              <a:gd name="connsiteX10" fmla="*/ 8912 w 10000"/>
              <a:gd name="connsiteY10" fmla="*/ 4383 h 9806"/>
              <a:gd name="connsiteX0" fmla="*/ 8912 w 9297"/>
              <a:gd name="connsiteY0" fmla="*/ 4470 h 10000"/>
              <a:gd name="connsiteX1" fmla="*/ 972 w 9297"/>
              <a:gd name="connsiteY1" fmla="*/ 4429 h 10000"/>
              <a:gd name="connsiteX2" fmla="*/ 484 w 9297"/>
              <a:gd name="connsiteY2" fmla="*/ 9105 h 10000"/>
              <a:gd name="connsiteX3" fmla="*/ 0 w 9297"/>
              <a:gd name="connsiteY3" fmla="*/ 4429 h 10000"/>
              <a:gd name="connsiteX4" fmla="*/ 0 w 9297"/>
              <a:gd name="connsiteY4" fmla="*/ 5373 h 10000"/>
              <a:gd name="connsiteX5" fmla="*/ 484 w 9297"/>
              <a:gd name="connsiteY5" fmla="*/ 10000 h 10000"/>
              <a:gd name="connsiteX6" fmla="*/ 972 w 9297"/>
              <a:gd name="connsiteY6" fmla="*/ 5373 h 10000"/>
              <a:gd name="connsiteX7" fmla="*/ 8912 w 9297"/>
              <a:gd name="connsiteY7" fmla="*/ 5425 h 10000"/>
              <a:gd name="connsiteX8" fmla="*/ 9231 w 9297"/>
              <a:gd name="connsiteY8" fmla="*/ 1642 h 10000"/>
              <a:gd name="connsiteX9" fmla="*/ 9231 w 9297"/>
              <a:gd name="connsiteY9" fmla="*/ 0 h 10000"/>
              <a:gd name="connsiteX10" fmla="*/ 8912 w 9297"/>
              <a:gd name="connsiteY10" fmla="*/ 4470 h 10000"/>
              <a:gd name="connsiteX0" fmla="*/ 9586 w 10000"/>
              <a:gd name="connsiteY0" fmla="*/ 4470 h 10000"/>
              <a:gd name="connsiteX1" fmla="*/ 1045 w 10000"/>
              <a:gd name="connsiteY1" fmla="*/ 4429 h 10000"/>
              <a:gd name="connsiteX2" fmla="*/ 521 w 10000"/>
              <a:gd name="connsiteY2" fmla="*/ 9105 h 10000"/>
              <a:gd name="connsiteX3" fmla="*/ 0 w 10000"/>
              <a:gd name="connsiteY3" fmla="*/ 4429 h 10000"/>
              <a:gd name="connsiteX4" fmla="*/ 0 w 10000"/>
              <a:gd name="connsiteY4" fmla="*/ 5373 h 10000"/>
              <a:gd name="connsiteX5" fmla="*/ 521 w 10000"/>
              <a:gd name="connsiteY5" fmla="*/ 10000 h 10000"/>
              <a:gd name="connsiteX6" fmla="*/ 1045 w 10000"/>
              <a:gd name="connsiteY6" fmla="*/ 5373 h 10000"/>
              <a:gd name="connsiteX7" fmla="*/ 9281 w 10000"/>
              <a:gd name="connsiteY7" fmla="*/ 5426 h 10000"/>
              <a:gd name="connsiteX8" fmla="*/ 9929 w 10000"/>
              <a:gd name="connsiteY8" fmla="*/ 1642 h 10000"/>
              <a:gd name="connsiteX9" fmla="*/ 9929 w 10000"/>
              <a:gd name="connsiteY9" fmla="*/ 0 h 10000"/>
              <a:gd name="connsiteX10" fmla="*/ 9586 w 10000"/>
              <a:gd name="connsiteY10" fmla="*/ 4470 h 10000"/>
              <a:gd name="connsiteX0" fmla="*/ 9586 w 10000"/>
              <a:gd name="connsiteY0" fmla="*/ 4470 h 10000"/>
              <a:gd name="connsiteX1" fmla="*/ 1045 w 10000"/>
              <a:gd name="connsiteY1" fmla="*/ 4429 h 10000"/>
              <a:gd name="connsiteX2" fmla="*/ 521 w 10000"/>
              <a:gd name="connsiteY2" fmla="*/ 9105 h 10000"/>
              <a:gd name="connsiteX3" fmla="*/ 0 w 10000"/>
              <a:gd name="connsiteY3" fmla="*/ 4429 h 10000"/>
              <a:gd name="connsiteX4" fmla="*/ 0 w 10000"/>
              <a:gd name="connsiteY4" fmla="*/ 5373 h 10000"/>
              <a:gd name="connsiteX5" fmla="*/ 521 w 10000"/>
              <a:gd name="connsiteY5" fmla="*/ 10000 h 10000"/>
              <a:gd name="connsiteX6" fmla="*/ 1045 w 10000"/>
              <a:gd name="connsiteY6" fmla="*/ 5373 h 10000"/>
              <a:gd name="connsiteX7" fmla="*/ 9281 w 10000"/>
              <a:gd name="connsiteY7" fmla="*/ 5426 h 10000"/>
              <a:gd name="connsiteX8" fmla="*/ 9929 w 10000"/>
              <a:gd name="connsiteY8" fmla="*/ 1642 h 10000"/>
              <a:gd name="connsiteX9" fmla="*/ 9929 w 10000"/>
              <a:gd name="connsiteY9" fmla="*/ 0 h 10000"/>
              <a:gd name="connsiteX10" fmla="*/ 9586 w 10000"/>
              <a:gd name="connsiteY10" fmla="*/ 4470 h 10000"/>
              <a:gd name="connsiteX0" fmla="*/ 9586 w 10000"/>
              <a:gd name="connsiteY0" fmla="*/ 4470 h 10000"/>
              <a:gd name="connsiteX1" fmla="*/ 1045 w 10000"/>
              <a:gd name="connsiteY1" fmla="*/ 4429 h 10000"/>
              <a:gd name="connsiteX2" fmla="*/ 521 w 10000"/>
              <a:gd name="connsiteY2" fmla="*/ 9105 h 10000"/>
              <a:gd name="connsiteX3" fmla="*/ 0 w 10000"/>
              <a:gd name="connsiteY3" fmla="*/ 4429 h 10000"/>
              <a:gd name="connsiteX4" fmla="*/ 0 w 10000"/>
              <a:gd name="connsiteY4" fmla="*/ 5373 h 10000"/>
              <a:gd name="connsiteX5" fmla="*/ 521 w 10000"/>
              <a:gd name="connsiteY5" fmla="*/ 10000 h 10000"/>
              <a:gd name="connsiteX6" fmla="*/ 1045 w 10000"/>
              <a:gd name="connsiteY6" fmla="*/ 5373 h 10000"/>
              <a:gd name="connsiteX7" fmla="*/ 9281 w 10000"/>
              <a:gd name="connsiteY7" fmla="*/ 5426 h 10000"/>
              <a:gd name="connsiteX8" fmla="*/ 9929 w 10000"/>
              <a:gd name="connsiteY8" fmla="*/ 1642 h 10000"/>
              <a:gd name="connsiteX9" fmla="*/ 9929 w 10000"/>
              <a:gd name="connsiteY9" fmla="*/ 0 h 10000"/>
              <a:gd name="connsiteX10" fmla="*/ 9586 w 10000"/>
              <a:gd name="connsiteY10" fmla="*/ 4470 h 10000"/>
              <a:gd name="connsiteX0" fmla="*/ 9281 w 9929"/>
              <a:gd name="connsiteY0" fmla="*/ 4558 h 10000"/>
              <a:gd name="connsiteX1" fmla="*/ 1045 w 9929"/>
              <a:gd name="connsiteY1" fmla="*/ 4429 h 10000"/>
              <a:gd name="connsiteX2" fmla="*/ 521 w 9929"/>
              <a:gd name="connsiteY2" fmla="*/ 9105 h 10000"/>
              <a:gd name="connsiteX3" fmla="*/ 0 w 9929"/>
              <a:gd name="connsiteY3" fmla="*/ 4429 h 10000"/>
              <a:gd name="connsiteX4" fmla="*/ 0 w 9929"/>
              <a:gd name="connsiteY4" fmla="*/ 5373 h 10000"/>
              <a:gd name="connsiteX5" fmla="*/ 521 w 9929"/>
              <a:gd name="connsiteY5" fmla="*/ 10000 h 10000"/>
              <a:gd name="connsiteX6" fmla="*/ 1045 w 9929"/>
              <a:gd name="connsiteY6" fmla="*/ 5373 h 10000"/>
              <a:gd name="connsiteX7" fmla="*/ 9281 w 9929"/>
              <a:gd name="connsiteY7" fmla="*/ 5426 h 10000"/>
              <a:gd name="connsiteX8" fmla="*/ 9929 w 9929"/>
              <a:gd name="connsiteY8" fmla="*/ 1642 h 10000"/>
              <a:gd name="connsiteX9" fmla="*/ 9929 w 9929"/>
              <a:gd name="connsiteY9" fmla="*/ 0 h 10000"/>
              <a:gd name="connsiteX10" fmla="*/ 9281 w 9929"/>
              <a:gd name="connsiteY10" fmla="*/ 4558 h 10000"/>
              <a:gd name="connsiteX0" fmla="*/ 9347 w 10000"/>
              <a:gd name="connsiteY0" fmla="*/ 4558 h 10000"/>
              <a:gd name="connsiteX1" fmla="*/ 1052 w 10000"/>
              <a:gd name="connsiteY1" fmla="*/ 4429 h 10000"/>
              <a:gd name="connsiteX2" fmla="*/ 525 w 10000"/>
              <a:gd name="connsiteY2" fmla="*/ 9105 h 10000"/>
              <a:gd name="connsiteX3" fmla="*/ 0 w 10000"/>
              <a:gd name="connsiteY3" fmla="*/ 4429 h 10000"/>
              <a:gd name="connsiteX4" fmla="*/ 0 w 10000"/>
              <a:gd name="connsiteY4" fmla="*/ 5373 h 10000"/>
              <a:gd name="connsiteX5" fmla="*/ 525 w 10000"/>
              <a:gd name="connsiteY5" fmla="*/ 10000 h 10000"/>
              <a:gd name="connsiteX6" fmla="*/ 1052 w 10000"/>
              <a:gd name="connsiteY6" fmla="*/ 5373 h 10000"/>
              <a:gd name="connsiteX7" fmla="*/ 9347 w 10000"/>
              <a:gd name="connsiteY7" fmla="*/ 5426 h 10000"/>
              <a:gd name="connsiteX8" fmla="*/ 10000 w 10000"/>
              <a:gd name="connsiteY8" fmla="*/ 0 h 10000"/>
              <a:gd name="connsiteX9" fmla="*/ 10000 w 10000"/>
              <a:gd name="connsiteY9" fmla="*/ 0 h 10000"/>
              <a:gd name="connsiteX10" fmla="*/ 9347 w 10000"/>
              <a:gd name="connsiteY10" fmla="*/ 4558 h 10000"/>
              <a:gd name="connsiteX0" fmla="*/ 9475 w 10000"/>
              <a:gd name="connsiteY0" fmla="*/ 4447 h 10000"/>
              <a:gd name="connsiteX1" fmla="*/ 1052 w 10000"/>
              <a:gd name="connsiteY1" fmla="*/ 4429 h 10000"/>
              <a:gd name="connsiteX2" fmla="*/ 525 w 10000"/>
              <a:gd name="connsiteY2" fmla="*/ 9105 h 10000"/>
              <a:gd name="connsiteX3" fmla="*/ 0 w 10000"/>
              <a:gd name="connsiteY3" fmla="*/ 4429 h 10000"/>
              <a:gd name="connsiteX4" fmla="*/ 0 w 10000"/>
              <a:gd name="connsiteY4" fmla="*/ 5373 h 10000"/>
              <a:gd name="connsiteX5" fmla="*/ 525 w 10000"/>
              <a:gd name="connsiteY5" fmla="*/ 10000 h 10000"/>
              <a:gd name="connsiteX6" fmla="*/ 1052 w 10000"/>
              <a:gd name="connsiteY6" fmla="*/ 5373 h 10000"/>
              <a:gd name="connsiteX7" fmla="*/ 9347 w 10000"/>
              <a:gd name="connsiteY7" fmla="*/ 5426 h 10000"/>
              <a:gd name="connsiteX8" fmla="*/ 10000 w 10000"/>
              <a:gd name="connsiteY8" fmla="*/ 0 h 10000"/>
              <a:gd name="connsiteX9" fmla="*/ 10000 w 10000"/>
              <a:gd name="connsiteY9" fmla="*/ 0 h 10000"/>
              <a:gd name="connsiteX10" fmla="*/ 9475 w 10000"/>
              <a:gd name="connsiteY10" fmla="*/ 4447 h 10000"/>
              <a:gd name="connsiteX0" fmla="*/ 9475 w 10000"/>
              <a:gd name="connsiteY0" fmla="*/ 4447 h 10000"/>
              <a:gd name="connsiteX1" fmla="*/ 1052 w 10000"/>
              <a:gd name="connsiteY1" fmla="*/ 4429 h 10000"/>
              <a:gd name="connsiteX2" fmla="*/ 525 w 10000"/>
              <a:gd name="connsiteY2" fmla="*/ 9105 h 10000"/>
              <a:gd name="connsiteX3" fmla="*/ 0 w 10000"/>
              <a:gd name="connsiteY3" fmla="*/ 4429 h 10000"/>
              <a:gd name="connsiteX4" fmla="*/ 0 w 10000"/>
              <a:gd name="connsiteY4" fmla="*/ 5373 h 10000"/>
              <a:gd name="connsiteX5" fmla="*/ 525 w 10000"/>
              <a:gd name="connsiteY5" fmla="*/ 10000 h 10000"/>
              <a:gd name="connsiteX6" fmla="*/ 1052 w 10000"/>
              <a:gd name="connsiteY6" fmla="*/ 5373 h 10000"/>
              <a:gd name="connsiteX7" fmla="*/ 9449 w 10000"/>
              <a:gd name="connsiteY7" fmla="*/ 5470 h 10000"/>
              <a:gd name="connsiteX8" fmla="*/ 10000 w 10000"/>
              <a:gd name="connsiteY8" fmla="*/ 0 h 10000"/>
              <a:gd name="connsiteX9" fmla="*/ 10000 w 10000"/>
              <a:gd name="connsiteY9" fmla="*/ 0 h 10000"/>
              <a:gd name="connsiteX10" fmla="*/ 9475 w 10000"/>
              <a:gd name="connsiteY10" fmla="*/ 4447 h 10000"/>
              <a:gd name="connsiteX0" fmla="*/ 9475 w 10956"/>
              <a:gd name="connsiteY0" fmla="*/ 4447 h 10000"/>
              <a:gd name="connsiteX1" fmla="*/ 1052 w 10956"/>
              <a:gd name="connsiteY1" fmla="*/ 4429 h 10000"/>
              <a:gd name="connsiteX2" fmla="*/ 525 w 10956"/>
              <a:gd name="connsiteY2" fmla="*/ 9105 h 10000"/>
              <a:gd name="connsiteX3" fmla="*/ 0 w 10956"/>
              <a:gd name="connsiteY3" fmla="*/ 4429 h 10000"/>
              <a:gd name="connsiteX4" fmla="*/ 0 w 10956"/>
              <a:gd name="connsiteY4" fmla="*/ 5373 h 10000"/>
              <a:gd name="connsiteX5" fmla="*/ 525 w 10956"/>
              <a:gd name="connsiteY5" fmla="*/ 10000 h 10000"/>
              <a:gd name="connsiteX6" fmla="*/ 1052 w 10956"/>
              <a:gd name="connsiteY6" fmla="*/ 5373 h 10000"/>
              <a:gd name="connsiteX7" fmla="*/ 9449 w 10956"/>
              <a:gd name="connsiteY7" fmla="*/ 5470 h 10000"/>
              <a:gd name="connsiteX8" fmla="*/ 10000 w 10956"/>
              <a:gd name="connsiteY8" fmla="*/ 0 h 10000"/>
              <a:gd name="connsiteX9" fmla="*/ 10000 w 10956"/>
              <a:gd name="connsiteY9" fmla="*/ 0 h 10000"/>
              <a:gd name="connsiteX10" fmla="*/ 9940 w 10956"/>
              <a:gd name="connsiteY10" fmla="*/ 1168 h 10000"/>
              <a:gd name="connsiteX11" fmla="*/ 9475 w 10956"/>
              <a:gd name="connsiteY11" fmla="*/ 4447 h 10000"/>
              <a:gd name="connsiteX0" fmla="*/ 9475 w 10956"/>
              <a:gd name="connsiteY0" fmla="*/ 4447 h 10000"/>
              <a:gd name="connsiteX1" fmla="*/ 1052 w 10956"/>
              <a:gd name="connsiteY1" fmla="*/ 4429 h 10000"/>
              <a:gd name="connsiteX2" fmla="*/ 525 w 10956"/>
              <a:gd name="connsiteY2" fmla="*/ 9105 h 10000"/>
              <a:gd name="connsiteX3" fmla="*/ 0 w 10956"/>
              <a:gd name="connsiteY3" fmla="*/ 4429 h 10000"/>
              <a:gd name="connsiteX4" fmla="*/ 0 w 10956"/>
              <a:gd name="connsiteY4" fmla="*/ 5373 h 10000"/>
              <a:gd name="connsiteX5" fmla="*/ 525 w 10956"/>
              <a:gd name="connsiteY5" fmla="*/ 10000 h 10000"/>
              <a:gd name="connsiteX6" fmla="*/ 1052 w 10956"/>
              <a:gd name="connsiteY6" fmla="*/ 5373 h 10000"/>
              <a:gd name="connsiteX7" fmla="*/ 9449 w 10956"/>
              <a:gd name="connsiteY7" fmla="*/ 5470 h 10000"/>
              <a:gd name="connsiteX8" fmla="*/ 10000 w 10956"/>
              <a:gd name="connsiteY8" fmla="*/ 0 h 10000"/>
              <a:gd name="connsiteX9" fmla="*/ 10000 w 10956"/>
              <a:gd name="connsiteY9" fmla="*/ 0 h 10000"/>
              <a:gd name="connsiteX10" fmla="*/ 10104 w 10956"/>
              <a:gd name="connsiteY10" fmla="*/ 1401 h 10000"/>
              <a:gd name="connsiteX11" fmla="*/ 9475 w 10956"/>
              <a:gd name="connsiteY11" fmla="*/ 4447 h 10000"/>
              <a:gd name="connsiteX0" fmla="*/ 9475 w 10966"/>
              <a:gd name="connsiteY0" fmla="*/ 4447 h 10000"/>
              <a:gd name="connsiteX1" fmla="*/ 1052 w 10966"/>
              <a:gd name="connsiteY1" fmla="*/ 4429 h 10000"/>
              <a:gd name="connsiteX2" fmla="*/ 525 w 10966"/>
              <a:gd name="connsiteY2" fmla="*/ 9105 h 10000"/>
              <a:gd name="connsiteX3" fmla="*/ 0 w 10966"/>
              <a:gd name="connsiteY3" fmla="*/ 4429 h 10000"/>
              <a:gd name="connsiteX4" fmla="*/ 0 w 10966"/>
              <a:gd name="connsiteY4" fmla="*/ 5373 h 10000"/>
              <a:gd name="connsiteX5" fmla="*/ 525 w 10966"/>
              <a:gd name="connsiteY5" fmla="*/ 10000 h 10000"/>
              <a:gd name="connsiteX6" fmla="*/ 1052 w 10966"/>
              <a:gd name="connsiteY6" fmla="*/ 5373 h 10000"/>
              <a:gd name="connsiteX7" fmla="*/ 9449 w 10966"/>
              <a:gd name="connsiteY7" fmla="*/ 5470 h 10000"/>
              <a:gd name="connsiteX8" fmla="*/ 10000 w 10966"/>
              <a:gd name="connsiteY8" fmla="*/ 0 h 10000"/>
              <a:gd name="connsiteX9" fmla="*/ 10000 w 10966"/>
              <a:gd name="connsiteY9" fmla="*/ 0 h 10000"/>
              <a:gd name="connsiteX10" fmla="*/ 9475 w 10966"/>
              <a:gd name="connsiteY10" fmla="*/ 4447 h 10000"/>
              <a:gd name="connsiteX0" fmla="*/ 9475 w 10966"/>
              <a:gd name="connsiteY0" fmla="*/ 4447 h 10000"/>
              <a:gd name="connsiteX1" fmla="*/ 1052 w 10966"/>
              <a:gd name="connsiteY1" fmla="*/ 4429 h 10000"/>
              <a:gd name="connsiteX2" fmla="*/ 525 w 10966"/>
              <a:gd name="connsiteY2" fmla="*/ 9105 h 10000"/>
              <a:gd name="connsiteX3" fmla="*/ 0 w 10966"/>
              <a:gd name="connsiteY3" fmla="*/ 4429 h 10000"/>
              <a:gd name="connsiteX4" fmla="*/ 0 w 10966"/>
              <a:gd name="connsiteY4" fmla="*/ 5373 h 10000"/>
              <a:gd name="connsiteX5" fmla="*/ 525 w 10966"/>
              <a:gd name="connsiteY5" fmla="*/ 10000 h 10000"/>
              <a:gd name="connsiteX6" fmla="*/ 1052 w 10966"/>
              <a:gd name="connsiteY6" fmla="*/ 5373 h 10000"/>
              <a:gd name="connsiteX7" fmla="*/ 9449 w 10966"/>
              <a:gd name="connsiteY7" fmla="*/ 5470 h 10000"/>
              <a:gd name="connsiteX8" fmla="*/ 10000 w 10966"/>
              <a:gd name="connsiteY8" fmla="*/ 0 h 10000"/>
              <a:gd name="connsiteX9" fmla="*/ 10060 w 10966"/>
              <a:gd name="connsiteY9" fmla="*/ 1567 h 10000"/>
              <a:gd name="connsiteX10" fmla="*/ 9475 w 10966"/>
              <a:gd name="connsiteY10" fmla="*/ 4447 h 10000"/>
              <a:gd name="connsiteX0" fmla="*/ 9475 w 10966"/>
              <a:gd name="connsiteY0" fmla="*/ 3647 h 9200"/>
              <a:gd name="connsiteX1" fmla="*/ 1052 w 10966"/>
              <a:gd name="connsiteY1" fmla="*/ 3629 h 9200"/>
              <a:gd name="connsiteX2" fmla="*/ 525 w 10966"/>
              <a:gd name="connsiteY2" fmla="*/ 8305 h 9200"/>
              <a:gd name="connsiteX3" fmla="*/ 0 w 10966"/>
              <a:gd name="connsiteY3" fmla="*/ 3629 h 9200"/>
              <a:gd name="connsiteX4" fmla="*/ 0 w 10966"/>
              <a:gd name="connsiteY4" fmla="*/ 4573 h 9200"/>
              <a:gd name="connsiteX5" fmla="*/ 525 w 10966"/>
              <a:gd name="connsiteY5" fmla="*/ 9200 h 9200"/>
              <a:gd name="connsiteX6" fmla="*/ 1052 w 10966"/>
              <a:gd name="connsiteY6" fmla="*/ 4573 h 9200"/>
              <a:gd name="connsiteX7" fmla="*/ 9449 w 10966"/>
              <a:gd name="connsiteY7" fmla="*/ 4670 h 9200"/>
              <a:gd name="connsiteX8" fmla="*/ 10099 w 10966"/>
              <a:gd name="connsiteY8" fmla="*/ 0 h 9200"/>
              <a:gd name="connsiteX9" fmla="*/ 10060 w 10966"/>
              <a:gd name="connsiteY9" fmla="*/ 767 h 9200"/>
              <a:gd name="connsiteX10" fmla="*/ 9475 w 10966"/>
              <a:gd name="connsiteY10" fmla="*/ 3647 h 9200"/>
              <a:gd name="connsiteX0" fmla="*/ 8640 w 10000"/>
              <a:gd name="connsiteY0" fmla="*/ 5401 h 11437"/>
              <a:gd name="connsiteX1" fmla="*/ 959 w 10000"/>
              <a:gd name="connsiteY1" fmla="*/ 5382 h 11437"/>
              <a:gd name="connsiteX2" fmla="*/ 479 w 10000"/>
              <a:gd name="connsiteY2" fmla="*/ 10464 h 11437"/>
              <a:gd name="connsiteX3" fmla="*/ 0 w 10000"/>
              <a:gd name="connsiteY3" fmla="*/ 5382 h 11437"/>
              <a:gd name="connsiteX4" fmla="*/ 0 w 10000"/>
              <a:gd name="connsiteY4" fmla="*/ 6408 h 11437"/>
              <a:gd name="connsiteX5" fmla="*/ 479 w 10000"/>
              <a:gd name="connsiteY5" fmla="*/ 11437 h 11437"/>
              <a:gd name="connsiteX6" fmla="*/ 959 w 10000"/>
              <a:gd name="connsiteY6" fmla="*/ 6408 h 11437"/>
              <a:gd name="connsiteX7" fmla="*/ 8617 w 10000"/>
              <a:gd name="connsiteY7" fmla="*/ 6513 h 11437"/>
              <a:gd name="connsiteX8" fmla="*/ 9209 w 10000"/>
              <a:gd name="connsiteY8" fmla="*/ 1437 h 11437"/>
              <a:gd name="connsiteX9" fmla="*/ 9119 w 10000"/>
              <a:gd name="connsiteY9" fmla="*/ 568 h 11437"/>
              <a:gd name="connsiteX10" fmla="*/ 8640 w 10000"/>
              <a:gd name="connsiteY10" fmla="*/ 5401 h 11437"/>
              <a:gd name="connsiteX0" fmla="*/ 8640 w 9228"/>
              <a:gd name="connsiteY0" fmla="*/ 5401 h 11437"/>
              <a:gd name="connsiteX1" fmla="*/ 959 w 9228"/>
              <a:gd name="connsiteY1" fmla="*/ 5382 h 11437"/>
              <a:gd name="connsiteX2" fmla="*/ 479 w 9228"/>
              <a:gd name="connsiteY2" fmla="*/ 10464 h 11437"/>
              <a:gd name="connsiteX3" fmla="*/ 0 w 9228"/>
              <a:gd name="connsiteY3" fmla="*/ 5382 h 11437"/>
              <a:gd name="connsiteX4" fmla="*/ 0 w 9228"/>
              <a:gd name="connsiteY4" fmla="*/ 6408 h 11437"/>
              <a:gd name="connsiteX5" fmla="*/ 479 w 9228"/>
              <a:gd name="connsiteY5" fmla="*/ 11437 h 11437"/>
              <a:gd name="connsiteX6" fmla="*/ 959 w 9228"/>
              <a:gd name="connsiteY6" fmla="*/ 6408 h 11437"/>
              <a:gd name="connsiteX7" fmla="*/ 8617 w 9228"/>
              <a:gd name="connsiteY7" fmla="*/ 6513 h 11437"/>
              <a:gd name="connsiteX8" fmla="*/ 9209 w 9228"/>
              <a:gd name="connsiteY8" fmla="*/ 1437 h 11437"/>
              <a:gd name="connsiteX9" fmla="*/ 9119 w 9228"/>
              <a:gd name="connsiteY9" fmla="*/ 568 h 11437"/>
              <a:gd name="connsiteX10" fmla="*/ 8640 w 9228"/>
              <a:gd name="connsiteY10" fmla="*/ 5401 h 11437"/>
              <a:gd name="connsiteX0" fmla="*/ 9363 w 10000"/>
              <a:gd name="connsiteY0" fmla="*/ 4722 h 10000"/>
              <a:gd name="connsiteX1" fmla="*/ 1039 w 10000"/>
              <a:gd name="connsiteY1" fmla="*/ 4706 h 10000"/>
              <a:gd name="connsiteX2" fmla="*/ 519 w 10000"/>
              <a:gd name="connsiteY2" fmla="*/ 9149 h 10000"/>
              <a:gd name="connsiteX3" fmla="*/ 0 w 10000"/>
              <a:gd name="connsiteY3" fmla="*/ 4706 h 10000"/>
              <a:gd name="connsiteX4" fmla="*/ 0 w 10000"/>
              <a:gd name="connsiteY4" fmla="*/ 5603 h 10000"/>
              <a:gd name="connsiteX5" fmla="*/ 519 w 10000"/>
              <a:gd name="connsiteY5" fmla="*/ 10000 h 10000"/>
              <a:gd name="connsiteX6" fmla="*/ 1039 w 10000"/>
              <a:gd name="connsiteY6" fmla="*/ 5603 h 10000"/>
              <a:gd name="connsiteX7" fmla="*/ 9338 w 10000"/>
              <a:gd name="connsiteY7" fmla="*/ 5695 h 10000"/>
              <a:gd name="connsiteX8" fmla="*/ 9979 w 10000"/>
              <a:gd name="connsiteY8" fmla="*/ 1256 h 10000"/>
              <a:gd name="connsiteX9" fmla="*/ 9882 w 10000"/>
              <a:gd name="connsiteY9" fmla="*/ 497 h 10000"/>
              <a:gd name="connsiteX10" fmla="*/ 9363 w 10000"/>
              <a:gd name="connsiteY10" fmla="*/ 4722 h 10000"/>
              <a:gd name="connsiteX0" fmla="*/ 9363 w 10000"/>
              <a:gd name="connsiteY0" fmla="*/ 4722 h 10000"/>
              <a:gd name="connsiteX1" fmla="*/ 1039 w 10000"/>
              <a:gd name="connsiteY1" fmla="*/ 4706 h 10000"/>
              <a:gd name="connsiteX2" fmla="*/ 519 w 10000"/>
              <a:gd name="connsiteY2" fmla="*/ 9149 h 10000"/>
              <a:gd name="connsiteX3" fmla="*/ 0 w 10000"/>
              <a:gd name="connsiteY3" fmla="*/ 4706 h 10000"/>
              <a:gd name="connsiteX4" fmla="*/ 0 w 10000"/>
              <a:gd name="connsiteY4" fmla="*/ 5603 h 10000"/>
              <a:gd name="connsiteX5" fmla="*/ 519 w 10000"/>
              <a:gd name="connsiteY5" fmla="*/ 10000 h 10000"/>
              <a:gd name="connsiteX6" fmla="*/ 1039 w 10000"/>
              <a:gd name="connsiteY6" fmla="*/ 5603 h 10000"/>
              <a:gd name="connsiteX7" fmla="*/ 9338 w 10000"/>
              <a:gd name="connsiteY7" fmla="*/ 5695 h 10000"/>
              <a:gd name="connsiteX8" fmla="*/ 9979 w 10000"/>
              <a:gd name="connsiteY8" fmla="*/ 1256 h 10000"/>
              <a:gd name="connsiteX9" fmla="*/ 9882 w 10000"/>
              <a:gd name="connsiteY9" fmla="*/ 497 h 10000"/>
              <a:gd name="connsiteX10" fmla="*/ 9363 w 10000"/>
              <a:gd name="connsiteY10" fmla="*/ 4722 h 10000"/>
              <a:gd name="connsiteX0" fmla="*/ 9363 w 10000"/>
              <a:gd name="connsiteY0" fmla="*/ 4722 h 10000"/>
              <a:gd name="connsiteX1" fmla="*/ 1039 w 10000"/>
              <a:gd name="connsiteY1" fmla="*/ 4706 h 10000"/>
              <a:gd name="connsiteX2" fmla="*/ 519 w 10000"/>
              <a:gd name="connsiteY2" fmla="*/ 9149 h 10000"/>
              <a:gd name="connsiteX3" fmla="*/ 0 w 10000"/>
              <a:gd name="connsiteY3" fmla="*/ 4706 h 10000"/>
              <a:gd name="connsiteX4" fmla="*/ 0 w 10000"/>
              <a:gd name="connsiteY4" fmla="*/ 5603 h 10000"/>
              <a:gd name="connsiteX5" fmla="*/ 519 w 10000"/>
              <a:gd name="connsiteY5" fmla="*/ 10000 h 10000"/>
              <a:gd name="connsiteX6" fmla="*/ 1039 w 10000"/>
              <a:gd name="connsiteY6" fmla="*/ 5603 h 10000"/>
              <a:gd name="connsiteX7" fmla="*/ 9338 w 10000"/>
              <a:gd name="connsiteY7" fmla="*/ 5695 h 10000"/>
              <a:gd name="connsiteX8" fmla="*/ 9979 w 10000"/>
              <a:gd name="connsiteY8" fmla="*/ 1256 h 10000"/>
              <a:gd name="connsiteX9" fmla="*/ 9882 w 10000"/>
              <a:gd name="connsiteY9" fmla="*/ 497 h 10000"/>
              <a:gd name="connsiteX10" fmla="*/ 9363 w 10000"/>
              <a:gd name="connsiteY10" fmla="*/ 4722 h 10000"/>
              <a:gd name="connsiteX0" fmla="*/ 9363 w 10000"/>
              <a:gd name="connsiteY0" fmla="*/ 4722 h 10000"/>
              <a:gd name="connsiteX1" fmla="*/ 1039 w 10000"/>
              <a:gd name="connsiteY1" fmla="*/ 4706 h 10000"/>
              <a:gd name="connsiteX2" fmla="*/ 519 w 10000"/>
              <a:gd name="connsiteY2" fmla="*/ 9149 h 10000"/>
              <a:gd name="connsiteX3" fmla="*/ 0 w 10000"/>
              <a:gd name="connsiteY3" fmla="*/ 4706 h 10000"/>
              <a:gd name="connsiteX4" fmla="*/ 0 w 10000"/>
              <a:gd name="connsiteY4" fmla="*/ 5603 h 10000"/>
              <a:gd name="connsiteX5" fmla="*/ 519 w 10000"/>
              <a:gd name="connsiteY5" fmla="*/ 10000 h 10000"/>
              <a:gd name="connsiteX6" fmla="*/ 1039 w 10000"/>
              <a:gd name="connsiteY6" fmla="*/ 5603 h 10000"/>
              <a:gd name="connsiteX7" fmla="*/ 9338 w 10000"/>
              <a:gd name="connsiteY7" fmla="*/ 5695 h 10000"/>
              <a:gd name="connsiteX8" fmla="*/ 9979 w 10000"/>
              <a:gd name="connsiteY8" fmla="*/ 1256 h 10000"/>
              <a:gd name="connsiteX9" fmla="*/ 9882 w 10000"/>
              <a:gd name="connsiteY9" fmla="*/ 497 h 10000"/>
              <a:gd name="connsiteX10" fmla="*/ 9363 w 10000"/>
              <a:gd name="connsiteY10" fmla="*/ 4722 h 10000"/>
              <a:gd name="connsiteX0" fmla="*/ 9363 w 10000"/>
              <a:gd name="connsiteY0" fmla="*/ 4722 h 10000"/>
              <a:gd name="connsiteX1" fmla="*/ 1039 w 10000"/>
              <a:gd name="connsiteY1" fmla="*/ 4706 h 10000"/>
              <a:gd name="connsiteX2" fmla="*/ 519 w 10000"/>
              <a:gd name="connsiteY2" fmla="*/ 9149 h 10000"/>
              <a:gd name="connsiteX3" fmla="*/ 0 w 10000"/>
              <a:gd name="connsiteY3" fmla="*/ 4706 h 10000"/>
              <a:gd name="connsiteX4" fmla="*/ 0 w 10000"/>
              <a:gd name="connsiteY4" fmla="*/ 5603 h 10000"/>
              <a:gd name="connsiteX5" fmla="*/ 519 w 10000"/>
              <a:gd name="connsiteY5" fmla="*/ 10000 h 10000"/>
              <a:gd name="connsiteX6" fmla="*/ 1039 w 10000"/>
              <a:gd name="connsiteY6" fmla="*/ 5603 h 10000"/>
              <a:gd name="connsiteX7" fmla="*/ 9338 w 10000"/>
              <a:gd name="connsiteY7" fmla="*/ 5695 h 10000"/>
              <a:gd name="connsiteX8" fmla="*/ 9979 w 10000"/>
              <a:gd name="connsiteY8" fmla="*/ 1256 h 10000"/>
              <a:gd name="connsiteX9" fmla="*/ 9882 w 10000"/>
              <a:gd name="connsiteY9" fmla="*/ 497 h 10000"/>
              <a:gd name="connsiteX10" fmla="*/ 9363 w 10000"/>
              <a:gd name="connsiteY10" fmla="*/ 4722 h 10000"/>
              <a:gd name="connsiteX0" fmla="*/ 9363 w 10000"/>
              <a:gd name="connsiteY0" fmla="*/ 4722 h 10000"/>
              <a:gd name="connsiteX1" fmla="*/ 1039 w 10000"/>
              <a:gd name="connsiteY1" fmla="*/ 4706 h 10000"/>
              <a:gd name="connsiteX2" fmla="*/ 519 w 10000"/>
              <a:gd name="connsiteY2" fmla="*/ 9149 h 10000"/>
              <a:gd name="connsiteX3" fmla="*/ 0 w 10000"/>
              <a:gd name="connsiteY3" fmla="*/ 4706 h 10000"/>
              <a:gd name="connsiteX4" fmla="*/ 0 w 10000"/>
              <a:gd name="connsiteY4" fmla="*/ 5603 h 10000"/>
              <a:gd name="connsiteX5" fmla="*/ 519 w 10000"/>
              <a:gd name="connsiteY5" fmla="*/ 10000 h 10000"/>
              <a:gd name="connsiteX6" fmla="*/ 1039 w 10000"/>
              <a:gd name="connsiteY6" fmla="*/ 5603 h 10000"/>
              <a:gd name="connsiteX7" fmla="*/ 9338 w 10000"/>
              <a:gd name="connsiteY7" fmla="*/ 5695 h 10000"/>
              <a:gd name="connsiteX8" fmla="*/ 9979 w 10000"/>
              <a:gd name="connsiteY8" fmla="*/ 1256 h 10000"/>
              <a:gd name="connsiteX9" fmla="*/ 9882 w 10000"/>
              <a:gd name="connsiteY9" fmla="*/ 497 h 10000"/>
              <a:gd name="connsiteX10" fmla="*/ 9363 w 10000"/>
              <a:gd name="connsiteY10" fmla="*/ 4722 h 10000"/>
              <a:gd name="connsiteX0" fmla="*/ 9363 w 9903"/>
              <a:gd name="connsiteY0" fmla="*/ 4722 h 10000"/>
              <a:gd name="connsiteX1" fmla="*/ 1039 w 9903"/>
              <a:gd name="connsiteY1" fmla="*/ 4706 h 10000"/>
              <a:gd name="connsiteX2" fmla="*/ 519 w 9903"/>
              <a:gd name="connsiteY2" fmla="*/ 9149 h 10000"/>
              <a:gd name="connsiteX3" fmla="*/ 0 w 9903"/>
              <a:gd name="connsiteY3" fmla="*/ 4706 h 10000"/>
              <a:gd name="connsiteX4" fmla="*/ 0 w 9903"/>
              <a:gd name="connsiteY4" fmla="*/ 5603 h 10000"/>
              <a:gd name="connsiteX5" fmla="*/ 519 w 9903"/>
              <a:gd name="connsiteY5" fmla="*/ 10000 h 10000"/>
              <a:gd name="connsiteX6" fmla="*/ 1039 w 9903"/>
              <a:gd name="connsiteY6" fmla="*/ 5603 h 10000"/>
              <a:gd name="connsiteX7" fmla="*/ 9338 w 9903"/>
              <a:gd name="connsiteY7" fmla="*/ 5695 h 10000"/>
              <a:gd name="connsiteX8" fmla="*/ 9882 w 9903"/>
              <a:gd name="connsiteY8" fmla="*/ 1351 h 10000"/>
              <a:gd name="connsiteX9" fmla="*/ 9882 w 9903"/>
              <a:gd name="connsiteY9" fmla="*/ 497 h 10000"/>
              <a:gd name="connsiteX10" fmla="*/ 9363 w 9903"/>
              <a:gd name="connsiteY10" fmla="*/ 4722 h 10000"/>
              <a:gd name="connsiteX0" fmla="*/ 9455 w 10003"/>
              <a:gd name="connsiteY0" fmla="*/ 4722 h 10000"/>
              <a:gd name="connsiteX1" fmla="*/ 1049 w 10003"/>
              <a:gd name="connsiteY1" fmla="*/ 4706 h 10000"/>
              <a:gd name="connsiteX2" fmla="*/ 524 w 10003"/>
              <a:gd name="connsiteY2" fmla="*/ 9149 h 10000"/>
              <a:gd name="connsiteX3" fmla="*/ 0 w 10003"/>
              <a:gd name="connsiteY3" fmla="*/ 4706 h 10000"/>
              <a:gd name="connsiteX4" fmla="*/ 0 w 10003"/>
              <a:gd name="connsiteY4" fmla="*/ 5603 h 10000"/>
              <a:gd name="connsiteX5" fmla="*/ 524 w 10003"/>
              <a:gd name="connsiteY5" fmla="*/ 10000 h 10000"/>
              <a:gd name="connsiteX6" fmla="*/ 1049 w 10003"/>
              <a:gd name="connsiteY6" fmla="*/ 5603 h 10000"/>
              <a:gd name="connsiteX7" fmla="*/ 9429 w 10003"/>
              <a:gd name="connsiteY7" fmla="*/ 5695 h 10000"/>
              <a:gd name="connsiteX8" fmla="*/ 9979 w 10003"/>
              <a:gd name="connsiteY8" fmla="*/ 1351 h 10000"/>
              <a:gd name="connsiteX9" fmla="*/ 9979 w 10003"/>
              <a:gd name="connsiteY9" fmla="*/ 497 h 10000"/>
              <a:gd name="connsiteX10" fmla="*/ 9455 w 10003"/>
              <a:gd name="connsiteY10" fmla="*/ 4722 h 10000"/>
              <a:gd name="connsiteX0" fmla="*/ 9455 w 10003"/>
              <a:gd name="connsiteY0" fmla="*/ 4722 h 10000"/>
              <a:gd name="connsiteX1" fmla="*/ 1049 w 10003"/>
              <a:gd name="connsiteY1" fmla="*/ 4706 h 10000"/>
              <a:gd name="connsiteX2" fmla="*/ 524 w 10003"/>
              <a:gd name="connsiteY2" fmla="*/ 9149 h 10000"/>
              <a:gd name="connsiteX3" fmla="*/ 0 w 10003"/>
              <a:gd name="connsiteY3" fmla="*/ 4706 h 10000"/>
              <a:gd name="connsiteX4" fmla="*/ 0 w 10003"/>
              <a:gd name="connsiteY4" fmla="*/ 5603 h 10000"/>
              <a:gd name="connsiteX5" fmla="*/ 524 w 10003"/>
              <a:gd name="connsiteY5" fmla="*/ 10000 h 10000"/>
              <a:gd name="connsiteX6" fmla="*/ 1049 w 10003"/>
              <a:gd name="connsiteY6" fmla="*/ 5603 h 10000"/>
              <a:gd name="connsiteX7" fmla="*/ 9429 w 10003"/>
              <a:gd name="connsiteY7" fmla="*/ 5695 h 10000"/>
              <a:gd name="connsiteX8" fmla="*/ 9979 w 10003"/>
              <a:gd name="connsiteY8" fmla="*/ 1351 h 10000"/>
              <a:gd name="connsiteX9" fmla="*/ 9979 w 10003"/>
              <a:gd name="connsiteY9" fmla="*/ 497 h 10000"/>
              <a:gd name="connsiteX10" fmla="*/ 9455 w 10003"/>
              <a:gd name="connsiteY10" fmla="*/ 4722 h 10000"/>
              <a:gd name="connsiteX0" fmla="*/ 9455 w 10003"/>
              <a:gd name="connsiteY0" fmla="*/ 4722 h 10000"/>
              <a:gd name="connsiteX1" fmla="*/ 1049 w 10003"/>
              <a:gd name="connsiteY1" fmla="*/ 4706 h 10000"/>
              <a:gd name="connsiteX2" fmla="*/ 524 w 10003"/>
              <a:gd name="connsiteY2" fmla="*/ 9149 h 10000"/>
              <a:gd name="connsiteX3" fmla="*/ 0 w 10003"/>
              <a:gd name="connsiteY3" fmla="*/ 4706 h 10000"/>
              <a:gd name="connsiteX4" fmla="*/ 0 w 10003"/>
              <a:gd name="connsiteY4" fmla="*/ 5603 h 10000"/>
              <a:gd name="connsiteX5" fmla="*/ 524 w 10003"/>
              <a:gd name="connsiteY5" fmla="*/ 10000 h 10000"/>
              <a:gd name="connsiteX6" fmla="*/ 1049 w 10003"/>
              <a:gd name="connsiteY6" fmla="*/ 5603 h 10000"/>
              <a:gd name="connsiteX7" fmla="*/ 9429 w 10003"/>
              <a:gd name="connsiteY7" fmla="*/ 5695 h 10000"/>
              <a:gd name="connsiteX8" fmla="*/ 9979 w 10003"/>
              <a:gd name="connsiteY8" fmla="*/ 1351 h 10000"/>
              <a:gd name="connsiteX9" fmla="*/ 9979 w 10003"/>
              <a:gd name="connsiteY9" fmla="*/ 497 h 10000"/>
              <a:gd name="connsiteX10" fmla="*/ 9455 w 10003"/>
              <a:gd name="connsiteY10" fmla="*/ 4722 h 10000"/>
              <a:gd name="connsiteX0" fmla="*/ 9455 w 10003"/>
              <a:gd name="connsiteY0" fmla="*/ 4722 h 10000"/>
              <a:gd name="connsiteX1" fmla="*/ 1049 w 10003"/>
              <a:gd name="connsiteY1" fmla="*/ 4706 h 10000"/>
              <a:gd name="connsiteX2" fmla="*/ 524 w 10003"/>
              <a:gd name="connsiteY2" fmla="*/ 9149 h 10000"/>
              <a:gd name="connsiteX3" fmla="*/ 0 w 10003"/>
              <a:gd name="connsiteY3" fmla="*/ 4706 h 10000"/>
              <a:gd name="connsiteX4" fmla="*/ 0 w 10003"/>
              <a:gd name="connsiteY4" fmla="*/ 5603 h 10000"/>
              <a:gd name="connsiteX5" fmla="*/ 524 w 10003"/>
              <a:gd name="connsiteY5" fmla="*/ 10000 h 10000"/>
              <a:gd name="connsiteX6" fmla="*/ 1049 w 10003"/>
              <a:gd name="connsiteY6" fmla="*/ 5603 h 10000"/>
              <a:gd name="connsiteX7" fmla="*/ 9429 w 10003"/>
              <a:gd name="connsiteY7" fmla="*/ 5695 h 10000"/>
              <a:gd name="connsiteX8" fmla="*/ 9979 w 10003"/>
              <a:gd name="connsiteY8" fmla="*/ 1351 h 10000"/>
              <a:gd name="connsiteX9" fmla="*/ 9979 w 10003"/>
              <a:gd name="connsiteY9" fmla="*/ 497 h 10000"/>
              <a:gd name="connsiteX10" fmla="*/ 9455 w 10003"/>
              <a:gd name="connsiteY10" fmla="*/ 4722 h 10000"/>
              <a:gd name="connsiteX0" fmla="*/ 9455 w 10003"/>
              <a:gd name="connsiteY0" fmla="*/ 4722 h 10000"/>
              <a:gd name="connsiteX1" fmla="*/ 1049 w 10003"/>
              <a:gd name="connsiteY1" fmla="*/ 4706 h 10000"/>
              <a:gd name="connsiteX2" fmla="*/ 524 w 10003"/>
              <a:gd name="connsiteY2" fmla="*/ 9149 h 10000"/>
              <a:gd name="connsiteX3" fmla="*/ 0 w 10003"/>
              <a:gd name="connsiteY3" fmla="*/ 4706 h 10000"/>
              <a:gd name="connsiteX4" fmla="*/ 0 w 10003"/>
              <a:gd name="connsiteY4" fmla="*/ 5603 h 10000"/>
              <a:gd name="connsiteX5" fmla="*/ 524 w 10003"/>
              <a:gd name="connsiteY5" fmla="*/ 10000 h 10000"/>
              <a:gd name="connsiteX6" fmla="*/ 1049 w 10003"/>
              <a:gd name="connsiteY6" fmla="*/ 5603 h 10000"/>
              <a:gd name="connsiteX7" fmla="*/ 9429 w 10003"/>
              <a:gd name="connsiteY7" fmla="*/ 5695 h 10000"/>
              <a:gd name="connsiteX8" fmla="*/ 9979 w 10003"/>
              <a:gd name="connsiteY8" fmla="*/ 1351 h 10000"/>
              <a:gd name="connsiteX9" fmla="*/ 9979 w 10003"/>
              <a:gd name="connsiteY9" fmla="*/ 497 h 10000"/>
              <a:gd name="connsiteX10" fmla="*/ 9455 w 10003"/>
              <a:gd name="connsiteY10" fmla="*/ 4722 h 10000"/>
              <a:gd name="connsiteX0" fmla="*/ 9455 w 9982"/>
              <a:gd name="connsiteY0" fmla="*/ 4722 h 10000"/>
              <a:gd name="connsiteX1" fmla="*/ 1049 w 9982"/>
              <a:gd name="connsiteY1" fmla="*/ 4706 h 10000"/>
              <a:gd name="connsiteX2" fmla="*/ 524 w 9982"/>
              <a:gd name="connsiteY2" fmla="*/ 9149 h 10000"/>
              <a:gd name="connsiteX3" fmla="*/ 0 w 9982"/>
              <a:gd name="connsiteY3" fmla="*/ 4706 h 10000"/>
              <a:gd name="connsiteX4" fmla="*/ 0 w 9982"/>
              <a:gd name="connsiteY4" fmla="*/ 5603 h 10000"/>
              <a:gd name="connsiteX5" fmla="*/ 524 w 9982"/>
              <a:gd name="connsiteY5" fmla="*/ 10000 h 10000"/>
              <a:gd name="connsiteX6" fmla="*/ 1049 w 9982"/>
              <a:gd name="connsiteY6" fmla="*/ 5603 h 10000"/>
              <a:gd name="connsiteX7" fmla="*/ 9429 w 9982"/>
              <a:gd name="connsiteY7" fmla="*/ 5695 h 10000"/>
              <a:gd name="connsiteX8" fmla="*/ 9979 w 9982"/>
              <a:gd name="connsiteY8" fmla="*/ 1351 h 10000"/>
              <a:gd name="connsiteX9" fmla="*/ 9979 w 9982"/>
              <a:gd name="connsiteY9" fmla="*/ 497 h 10000"/>
              <a:gd name="connsiteX10" fmla="*/ 9455 w 9982"/>
              <a:gd name="connsiteY10" fmla="*/ 4722 h 10000"/>
              <a:gd name="connsiteX0" fmla="*/ 9472 w 10005"/>
              <a:gd name="connsiteY0" fmla="*/ 4722 h 10000"/>
              <a:gd name="connsiteX1" fmla="*/ 1051 w 10005"/>
              <a:gd name="connsiteY1" fmla="*/ 4706 h 10000"/>
              <a:gd name="connsiteX2" fmla="*/ 525 w 10005"/>
              <a:gd name="connsiteY2" fmla="*/ 9149 h 10000"/>
              <a:gd name="connsiteX3" fmla="*/ 0 w 10005"/>
              <a:gd name="connsiteY3" fmla="*/ 4706 h 10000"/>
              <a:gd name="connsiteX4" fmla="*/ 0 w 10005"/>
              <a:gd name="connsiteY4" fmla="*/ 5603 h 10000"/>
              <a:gd name="connsiteX5" fmla="*/ 525 w 10005"/>
              <a:gd name="connsiteY5" fmla="*/ 10000 h 10000"/>
              <a:gd name="connsiteX6" fmla="*/ 1051 w 10005"/>
              <a:gd name="connsiteY6" fmla="*/ 5603 h 10000"/>
              <a:gd name="connsiteX7" fmla="*/ 9446 w 10005"/>
              <a:gd name="connsiteY7" fmla="*/ 5695 h 10000"/>
              <a:gd name="connsiteX8" fmla="*/ 9997 w 10005"/>
              <a:gd name="connsiteY8" fmla="*/ 1351 h 10000"/>
              <a:gd name="connsiteX9" fmla="*/ 9997 w 10005"/>
              <a:gd name="connsiteY9" fmla="*/ 497 h 10000"/>
              <a:gd name="connsiteX10" fmla="*/ 9472 w 10005"/>
              <a:gd name="connsiteY10" fmla="*/ 4722 h 10000"/>
              <a:gd name="connsiteX0" fmla="*/ 9472 w 9997"/>
              <a:gd name="connsiteY0" fmla="*/ 4722 h 10000"/>
              <a:gd name="connsiteX1" fmla="*/ 1051 w 9997"/>
              <a:gd name="connsiteY1" fmla="*/ 4706 h 10000"/>
              <a:gd name="connsiteX2" fmla="*/ 525 w 9997"/>
              <a:gd name="connsiteY2" fmla="*/ 9149 h 10000"/>
              <a:gd name="connsiteX3" fmla="*/ 0 w 9997"/>
              <a:gd name="connsiteY3" fmla="*/ 4706 h 10000"/>
              <a:gd name="connsiteX4" fmla="*/ 0 w 9997"/>
              <a:gd name="connsiteY4" fmla="*/ 5603 h 10000"/>
              <a:gd name="connsiteX5" fmla="*/ 525 w 9997"/>
              <a:gd name="connsiteY5" fmla="*/ 10000 h 10000"/>
              <a:gd name="connsiteX6" fmla="*/ 1051 w 9997"/>
              <a:gd name="connsiteY6" fmla="*/ 5603 h 10000"/>
              <a:gd name="connsiteX7" fmla="*/ 9446 w 9997"/>
              <a:gd name="connsiteY7" fmla="*/ 5695 h 10000"/>
              <a:gd name="connsiteX8" fmla="*/ 9942 w 9997"/>
              <a:gd name="connsiteY8" fmla="*/ 1985 h 10000"/>
              <a:gd name="connsiteX9" fmla="*/ 9997 w 9997"/>
              <a:gd name="connsiteY9" fmla="*/ 497 h 10000"/>
              <a:gd name="connsiteX10" fmla="*/ 9472 w 9997"/>
              <a:gd name="connsiteY10" fmla="*/ 4722 h 10000"/>
              <a:gd name="connsiteX0" fmla="*/ 9475 w 10008"/>
              <a:gd name="connsiteY0" fmla="*/ 4722 h 10000"/>
              <a:gd name="connsiteX1" fmla="*/ 1051 w 10008"/>
              <a:gd name="connsiteY1" fmla="*/ 4706 h 10000"/>
              <a:gd name="connsiteX2" fmla="*/ 525 w 10008"/>
              <a:gd name="connsiteY2" fmla="*/ 9149 h 10000"/>
              <a:gd name="connsiteX3" fmla="*/ 0 w 10008"/>
              <a:gd name="connsiteY3" fmla="*/ 4706 h 10000"/>
              <a:gd name="connsiteX4" fmla="*/ 0 w 10008"/>
              <a:gd name="connsiteY4" fmla="*/ 5603 h 10000"/>
              <a:gd name="connsiteX5" fmla="*/ 525 w 10008"/>
              <a:gd name="connsiteY5" fmla="*/ 10000 h 10000"/>
              <a:gd name="connsiteX6" fmla="*/ 1051 w 10008"/>
              <a:gd name="connsiteY6" fmla="*/ 5603 h 10000"/>
              <a:gd name="connsiteX7" fmla="*/ 9449 w 10008"/>
              <a:gd name="connsiteY7" fmla="*/ 5695 h 10000"/>
              <a:gd name="connsiteX8" fmla="*/ 10000 w 10008"/>
              <a:gd name="connsiteY8" fmla="*/ 1319 h 10000"/>
              <a:gd name="connsiteX9" fmla="*/ 10000 w 10008"/>
              <a:gd name="connsiteY9" fmla="*/ 497 h 10000"/>
              <a:gd name="connsiteX10" fmla="*/ 9475 w 10008"/>
              <a:gd name="connsiteY10" fmla="*/ 4722 h 10000"/>
              <a:gd name="connsiteX0" fmla="*/ 9475 w 10008"/>
              <a:gd name="connsiteY0" fmla="*/ 4722 h 10000"/>
              <a:gd name="connsiteX1" fmla="*/ 1051 w 10008"/>
              <a:gd name="connsiteY1" fmla="*/ 4706 h 10000"/>
              <a:gd name="connsiteX2" fmla="*/ 525 w 10008"/>
              <a:gd name="connsiteY2" fmla="*/ 9149 h 10000"/>
              <a:gd name="connsiteX3" fmla="*/ 0 w 10008"/>
              <a:gd name="connsiteY3" fmla="*/ 4706 h 10000"/>
              <a:gd name="connsiteX4" fmla="*/ 0 w 10008"/>
              <a:gd name="connsiteY4" fmla="*/ 5603 h 10000"/>
              <a:gd name="connsiteX5" fmla="*/ 525 w 10008"/>
              <a:gd name="connsiteY5" fmla="*/ 10000 h 10000"/>
              <a:gd name="connsiteX6" fmla="*/ 1051 w 10008"/>
              <a:gd name="connsiteY6" fmla="*/ 5603 h 10000"/>
              <a:gd name="connsiteX7" fmla="*/ 9449 w 10008"/>
              <a:gd name="connsiteY7" fmla="*/ 5695 h 10000"/>
              <a:gd name="connsiteX8" fmla="*/ 10000 w 10008"/>
              <a:gd name="connsiteY8" fmla="*/ 1224 h 10000"/>
              <a:gd name="connsiteX9" fmla="*/ 10000 w 10008"/>
              <a:gd name="connsiteY9" fmla="*/ 497 h 10000"/>
              <a:gd name="connsiteX10" fmla="*/ 9475 w 10008"/>
              <a:gd name="connsiteY10" fmla="*/ 4722 h 10000"/>
              <a:gd name="connsiteX0" fmla="*/ 9475 w 10008"/>
              <a:gd name="connsiteY0" fmla="*/ 4722 h 10000"/>
              <a:gd name="connsiteX1" fmla="*/ 1051 w 10008"/>
              <a:gd name="connsiteY1" fmla="*/ 4706 h 10000"/>
              <a:gd name="connsiteX2" fmla="*/ 525 w 10008"/>
              <a:gd name="connsiteY2" fmla="*/ 9149 h 10000"/>
              <a:gd name="connsiteX3" fmla="*/ 0 w 10008"/>
              <a:gd name="connsiteY3" fmla="*/ 4706 h 10000"/>
              <a:gd name="connsiteX4" fmla="*/ 0 w 10008"/>
              <a:gd name="connsiteY4" fmla="*/ 5603 h 10000"/>
              <a:gd name="connsiteX5" fmla="*/ 525 w 10008"/>
              <a:gd name="connsiteY5" fmla="*/ 10000 h 10000"/>
              <a:gd name="connsiteX6" fmla="*/ 1051 w 10008"/>
              <a:gd name="connsiteY6" fmla="*/ 5603 h 10000"/>
              <a:gd name="connsiteX7" fmla="*/ 9449 w 10008"/>
              <a:gd name="connsiteY7" fmla="*/ 5695 h 10000"/>
              <a:gd name="connsiteX8" fmla="*/ 10000 w 10008"/>
              <a:gd name="connsiteY8" fmla="*/ 1224 h 10000"/>
              <a:gd name="connsiteX9" fmla="*/ 10000 w 10008"/>
              <a:gd name="connsiteY9" fmla="*/ 497 h 10000"/>
              <a:gd name="connsiteX10" fmla="*/ 9475 w 10008"/>
              <a:gd name="connsiteY10" fmla="*/ 4722 h 10000"/>
              <a:gd name="connsiteX0" fmla="*/ 9475 w 10008"/>
              <a:gd name="connsiteY0" fmla="*/ 4722 h 10000"/>
              <a:gd name="connsiteX1" fmla="*/ 1051 w 10008"/>
              <a:gd name="connsiteY1" fmla="*/ 4706 h 10000"/>
              <a:gd name="connsiteX2" fmla="*/ 525 w 10008"/>
              <a:gd name="connsiteY2" fmla="*/ 9149 h 10000"/>
              <a:gd name="connsiteX3" fmla="*/ 0 w 10008"/>
              <a:gd name="connsiteY3" fmla="*/ 4706 h 10000"/>
              <a:gd name="connsiteX4" fmla="*/ 0 w 10008"/>
              <a:gd name="connsiteY4" fmla="*/ 5603 h 10000"/>
              <a:gd name="connsiteX5" fmla="*/ 525 w 10008"/>
              <a:gd name="connsiteY5" fmla="*/ 10000 h 10000"/>
              <a:gd name="connsiteX6" fmla="*/ 1051 w 10008"/>
              <a:gd name="connsiteY6" fmla="*/ 5603 h 10000"/>
              <a:gd name="connsiteX7" fmla="*/ 9449 w 10008"/>
              <a:gd name="connsiteY7" fmla="*/ 5695 h 10000"/>
              <a:gd name="connsiteX8" fmla="*/ 10000 w 10008"/>
              <a:gd name="connsiteY8" fmla="*/ 1224 h 10000"/>
              <a:gd name="connsiteX9" fmla="*/ 10000 w 10008"/>
              <a:gd name="connsiteY9" fmla="*/ 497 h 10000"/>
              <a:gd name="connsiteX10" fmla="*/ 9475 w 10008"/>
              <a:gd name="connsiteY10" fmla="*/ 4722 h 10000"/>
              <a:gd name="connsiteX0" fmla="*/ 9475 w 10008"/>
              <a:gd name="connsiteY0" fmla="*/ 4722 h 10000"/>
              <a:gd name="connsiteX1" fmla="*/ 1051 w 10008"/>
              <a:gd name="connsiteY1" fmla="*/ 4706 h 10000"/>
              <a:gd name="connsiteX2" fmla="*/ 525 w 10008"/>
              <a:gd name="connsiteY2" fmla="*/ 9149 h 10000"/>
              <a:gd name="connsiteX3" fmla="*/ 0 w 10008"/>
              <a:gd name="connsiteY3" fmla="*/ 4706 h 10000"/>
              <a:gd name="connsiteX4" fmla="*/ 0 w 10008"/>
              <a:gd name="connsiteY4" fmla="*/ 5603 h 10000"/>
              <a:gd name="connsiteX5" fmla="*/ 525 w 10008"/>
              <a:gd name="connsiteY5" fmla="*/ 10000 h 10000"/>
              <a:gd name="connsiteX6" fmla="*/ 1051 w 10008"/>
              <a:gd name="connsiteY6" fmla="*/ 5603 h 10000"/>
              <a:gd name="connsiteX7" fmla="*/ 9449 w 10008"/>
              <a:gd name="connsiteY7" fmla="*/ 5695 h 10000"/>
              <a:gd name="connsiteX8" fmla="*/ 10000 w 10008"/>
              <a:gd name="connsiteY8" fmla="*/ 1224 h 10000"/>
              <a:gd name="connsiteX9" fmla="*/ 10000 w 10008"/>
              <a:gd name="connsiteY9" fmla="*/ 497 h 10000"/>
              <a:gd name="connsiteX10" fmla="*/ 9475 w 10008"/>
              <a:gd name="connsiteY10" fmla="*/ 4722 h 10000"/>
              <a:gd name="connsiteX0" fmla="*/ 9475 w 10008"/>
              <a:gd name="connsiteY0" fmla="*/ 4722 h 10000"/>
              <a:gd name="connsiteX1" fmla="*/ 1051 w 10008"/>
              <a:gd name="connsiteY1" fmla="*/ 4706 h 10000"/>
              <a:gd name="connsiteX2" fmla="*/ 525 w 10008"/>
              <a:gd name="connsiteY2" fmla="*/ 9149 h 10000"/>
              <a:gd name="connsiteX3" fmla="*/ 0 w 10008"/>
              <a:gd name="connsiteY3" fmla="*/ 4706 h 10000"/>
              <a:gd name="connsiteX4" fmla="*/ 0 w 10008"/>
              <a:gd name="connsiteY4" fmla="*/ 5603 h 10000"/>
              <a:gd name="connsiteX5" fmla="*/ 525 w 10008"/>
              <a:gd name="connsiteY5" fmla="*/ 10000 h 10000"/>
              <a:gd name="connsiteX6" fmla="*/ 1051 w 10008"/>
              <a:gd name="connsiteY6" fmla="*/ 5603 h 10000"/>
              <a:gd name="connsiteX7" fmla="*/ 9449 w 10008"/>
              <a:gd name="connsiteY7" fmla="*/ 5695 h 10000"/>
              <a:gd name="connsiteX8" fmla="*/ 10000 w 10008"/>
              <a:gd name="connsiteY8" fmla="*/ 1224 h 10000"/>
              <a:gd name="connsiteX9" fmla="*/ 10000 w 10008"/>
              <a:gd name="connsiteY9" fmla="*/ 497 h 10000"/>
              <a:gd name="connsiteX10" fmla="*/ 9475 w 10008"/>
              <a:gd name="connsiteY10" fmla="*/ 4722 h 10000"/>
              <a:gd name="connsiteX0" fmla="*/ 9475 w 10008"/>
              <a:gd name="connsiteY0" fmla="*/ 4722 h 10000"/>
              <a:gd name="connsiteX1" fmla="*/ 1051 w 10008"/>
              <a:gd name="connsiteY1" fmla="*/ 4706 h 10000"/>
              <a:gd name="connsiteX2" fmla="*/ 525 w 10008"/>
              <a:gd name="connsiteY2" fmla="*/ 9149 h 10000"/>
              <a:gd name="connsiteX3" fmla="*/ 0 w 10008"/>
              <a:gd name="connsiteY3" fmla="*/ 4706 h 10000"/>
              <a:gd name="connsiteX4" fmla="*/ 0 w 10008"/>
              <a:gd name="connsiteY4" fmla="*/ 5603 h 10000"/>
              <a:gd name="connsiteX5" fmla="*/ 525 w 10008"/>
              <a:gd name="connsiteY5" fmla="*/ 10000 h 10000"/>
              <a:gd name="connsiteX6" fmla="*/ 1051 w 10008"/>
              <a:gd name="connsiteY6" fmla="*/ 5603 h 10000"/>
              <a:gd name="connsiteX7" fmla="*/ 9449 w 10008"/>
              <a:gd name="connsiteY7" fmla="*/ 5695 h 10000"/>
              <a:gd name="connsiteX8" fmla="*/ 10000 w 10008"/>
              <a:gd name="connsiteY8" fmla="*/ 1224 h 10000"/>
              <a:gd name="connsiteX9" fmla="*/ 10000 w 10008"/>
              <a:gd name="connsiteY9" fmla="*/ 497 h 10000"/>
              <a:gd name="connsiteX10" fmla="*/ 9475 w 10008"/>
              <a:gd name="connsiteY10" fmla="*/ 4722 h 10000"/>
              <a:gd name="connsiteX0" fmla="*/ 9475 w 10008"/>
              <a:gd name="connsiteY0" fmla="*/ 4722 h 10000"/>
              <a:gd name="connsiteX1" fmla="*/ 1051 w 10008"/>
              <a:gd name="connsiteY1" fmla="*/ 4706 h 10000"/>
              <a:gd name="connsiteX2" fmla="*/ 525 w 10008"/>
              <a:gd name="connsiteY2" fmla="*/ 9149 h 10000"/>
              <a:gd name="connsiteX3" fmla="*/ 0 w 10008"/>
              <a:gd name="connsiteY3" fmla="*/ 4706 h 10000"/>
              <a:gd name="connsiteX4" fmla="*/ 0 w 10008"/>
              <a:gd name="connsiteY4" fmla="*/ 5603 h 10000"/>
              <a:gd name="connsiteX5" fmla="*/ 525 w 10008"/>
              <a:gd name="connsiteY5" fmla="*/ 10000 h 10000"/>
              <a:gd name="connsiteX6" fmla="*/ 1051 w 10008"/>
              <a:gd name="connsiteY6" fmla="*/ 5603 h 10000"/>
              <a:gd name="connsiteX7" fmla="*/ 9449 w 10008"/>
              <a:gd name="connsiteY7" fmla="*/ 5695 h 10000"/>
              <a:gd name="connsiteX8" fmla="*/ 10000 w 10008"/>
              <a:gd name="connsiteY8" fmla="*/ 1224 h 10000"/>
              <a:gd name="connsiteX9" fmla="*/ 10000 w 10008"/>
              <a:gd name="connsiteY9" fmla="*/ 497 h 10000"/>
              <a:gd name="connsiteX10" fmla="*/ 9475 w 10008"/>
              <a:gd name="connsiteY10" fmla="*/ 472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0008" h="10000">
                <a:moveTo>
                  <a:pt x="9475" y="4722"/>
                </a:moveTo>
                <a:lnTo>
                  <a:pt x="1051" y="4706"/>
                </a:lnTo>
                <a:cubicBezTo>
                  <a:pt x="636" y="4706"/>
                  <a:pt x="525" y="9149"/>
                  <a:pt x="525" y="9149"/>
                </a:cubicBezTo>
                <a:cubicBezTo>
                  <a:pt x="525" y="9149"/>
                  <a:pt x="415" y="4706"/>
                  <a:pt x="0" y="4706"/>
                </a:cubicBezTo>
                <a:lnTo>
                  <a:pt x="0" y="5603"/>
                </a:lnTo>
                <a:cubicBezTo>
                  <a:pt x="415" y="5603"/>
                  <a:pt x="525" y="10000"/>
                  <a:pt x="525" y="10000"/>
                </a:cubicBezTo>
                <a:cubicBezTo>
                  <a:pt x="525" y="10000"/>
                  <a:pt x="636" y="5603"/>
                  <a:pt x="1051" y="5603"/>
                </a:cubicBezTo>
                <a:lnTo>
                  <a:pt x="9449" y="5695"/>
                </a:lnTo>
                <a:cubicBezTo>
                  <a:pt x="9827" y="5410"/>
                  <a:pt x="9934" y="2946"/>
                  <a:pt x="10000" y="1224"/>
                </a:cubicBezTo>
                <a:cubicBezTo>
                  <a:pt x="10008" y="1086"/>
                  <a:pt x="10001" y="0"/>
                  <a:pt x="10000" y="497"/>
                </a:cubicBezTo>
                <a:cubicBezTo>
                  <a:pt x="9937" y="1770"/>
                  <a:pt x="9819" y="4623"/>
                  <a:pt x="9475" y="4722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fr-FR" kern="0">
              <a:solidFill>
                <a:sysClr val="windowText" lastClr="000000"/>
              </a:solidFill>
              <a:cs typeface="Arial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6200" y="38100"/>
            <a:ext cx="8610600" cy="428625"/>
          </a:xfrm>
        </p:spPr>
        <p:txBody>
          <a:bodyPr>
            <a:noAutofit/>
          </a:bodyPr>
          <a:lstStyle>
            <a:lvl1pPr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buNone/>
              <a:defRPr sz="2000"/>
            </a:lvl2pPr>
            <a:lvl3pPr>
              <a:buNone/>
              <a:defRPr sz="2000"/>
            </a:lvl3pPr>
            <a:lvl4pPr>
              <a:buNone/>
              <a:defRPr sz="2000"/>
            </a:lvl4pPr>
            <a:lvl5pPr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unch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/>
          <p:cNvSpPr/>
          <p:nvPr userDrawn="1"/>
        </p:nvSpPr>
        <p:spPr>
          <a:xfrm>
            <a:off x="152400" y="1952625"/>
            <a:ext cx="2171700" cy="2324100"/>
          </a:xfrm>
          <a:prstGeom prst="rect">
            <a:avLst/>
          </a:prstGeom>
          <a:gradFill>
            <a:gsLst>
              <a:gs pos="0">
                <a:srgbClr val="D7D0CB"/>
              </a:gs>
              <a:gs pos="4100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/>
          <p:cNvSpPr/>
          <p:nvPr userDrawn="1"/>
        </p:nvSpPr>
        <p:spPr>
          <a:xfrm>
            <a:off x="2457450" y="1266825"/>
            <a:ext cx="6496050" cy="2962275"/>
          </a:xfrm>
          <a:prstGeom prst="rect">
            <a:avLst/>
          </a:prstGeom>
          <a:gradFill>
            <a:gsLst>
              <a:gs pos="0">
                <a:srgbClr val="D7D0CB"/>
              </a:gs>
              <a:gs pos="4100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45"/>
          <p:cNvSpPr>
            <a:spLocks noGrp="1"/>
          </p:cNvSpPr>
          <p:nvPr>
            <p:ph type="body" sz="quarter" idx="18" hasCustomPrompt="1"/>
          </p:nvPr>
        </p:nvSpPr>
        <p:spPr>
          <a:xfrm>
            <a:off x="5714999" y="1447800"/>
            <a:ext cx="2895601" cy="4572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lang="en-US" sz="1100" b="1" i="0" baseline="0" smtClean="0"/>
            </a:lvl1pPr>
            <a:lvl2pPr marL="114300" indent="-114300">
              <a:defRPr sz="1300"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228600" indent="-114300">
              <a:defRPr sz="1100"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b="0" i="0" dirty="0" smtClean="0">
                <a:solidFill>
                  <a:srgbClr val="000000"/>
                </a:solidFill>
                <a:latin typeface="Open Sans"/>
              </a:rPr>
              <a:t>Welcome to the course:</a:t>
            </a:r>
          </a:p>
          <a:p>
            <a:pPr lvl="0"/>
            <a:r>
              <a:rPr lang="en-US" b="1" i="0" dirty="0" smtClean="0">
                <a:solidFill>
                  <a:srgbClr val="000000"/>
                </a:solidFill>
                <a:latin typeface="Open Sans"/>
              </a:rPr>
              <a:t>Module 3 Managing Resistance</a:t>
            </a:r>
            <a:endParaRPr lang="en-US" dirty="0" smtClean="0"/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295275" y="914400"/>
            <a:ext cx="1885950" cy="45720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anchor="ctr" anchorCtr="1">
            <a:noAutofit/>
          </a:bodyPr>
          <a:lstStyle>
            <a:lvl1pPr marL="342900" marR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100" b="1">
                <a:solidFill>
                  <a:schemeClr val="bg1"/>
                </a:solidFill>
              </a:defRPr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 </a:t>
            </a:r>
            <a:r>
              <a:rPr kumimoji="0" lang="en-US" sz="11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</a:t>
            </a:r>
            <a:r>
              <a:rPr kumimoji="0" lang="en-US" sz="11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/ CG Logo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027" name="Picture 3" descr="D:\svn\Projects\HTML5_conversions\11_Templates\Page_Layout\croped_images\Launch_Page\respDevice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19400" y="1447800"/>
            <a:ext cx="2662452" cy="1581150"/>
          </a:xfrm>
          <a:prstGeom prst="rect">
            <a:avLst/>
          </a:prstGeom>
          <a:noFill/>
        </p:spPr>
      </p:pic>
      <p:sp>
        <p:nvSpPr>
          <p:cNvPr id="33" name="Text Placeholder 50"/>
          <p:cNvSpPr>
            <a:spLocks noGrp="1"/>
          </p:cNvSpPr>
          <p:nvPr>
            <p:ph type="body" sz="quarter" idx="36" hasCustomPrompt="1"/>
          </p:nvPr>
        </p:nvSpPr>
        <p:spPr>
          <a:xfrm>
            <a:off x="5791200" y="2971800"/>
            <a:ext cx="1085850" cy="276999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>
            <a:lvl1pPr algn="ctr">
              <a:buNone/>
              <a:defRPr sz="1200" b="1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>
              <a:defRPr sz="1200" b="1"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>
              <a:defRPr sz="1200" b="1"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  <a:lvl4pPr>
              <a:defRPr sz="1200" b="1">
                <a:latin typeface="Open Sans" pitchFamily="34" charset="0"/>
                <a:ea typeface="Open Sans" pitchFamily="34" charset="0"/>
                <a:cs typeface="Open Sans" pitchFamily="34" charset="0"/>
              </a:defRPr>
            </a:lvl4pPr>
            <a:lvl5pPr>
              <a:defRPr sz="1200" b="1">
                <a:latin typeface="Open Sans" pitchFamily="34" charset="0"/>
                <a:ea typeface="Open Sans" pitchFamily="34" charset="0"/>
                <a:cs typeface="Open Sans" pitchFamily="34" charset="0"/>
              </a:defRPr>
            </a:lvl5pPr>
          </a:lstStyle>
          <a:p>
            <a:pPr lvl="0"/>
            <a:r>
              <a:rPr lang="en-US" dirty="0" smtClean="0"/>
              <a:t>Launch</a:t>
            </a:r>
            <a:endParaRPr lang="en-US" dirty="0"/>
          </a:p>
        </p:txBody>
      </p:sp>
      <p:sp>
        <p:nvSpPr>
          <p:cNvPr id="34" name="Text Placeholder 50"/>
          <p:cNvSpPr>
            <a:spLocks noGrp="1"/>
          </p:cNvSpPr>
          <p:nvPr>
            <p:ph type="body" sz="quarter" idx="37" hasCustomPrompt="1"/>
          </p:nvPr>
        </p:nvSpPr>
        <p:spPr>
          <a:xfrm>
            <a:off x="438150" y="5181600"/>
            <a:ext cx="1085850" cy="276999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>
            <a:lvl1pPr algn="ctr">
              <a:buNone/>
              <a:defRPr lang="en-US" sz="1200" b="1" kern="1200" dirty="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>
              <a:defRPr sz="1200" b="1"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>
              <a:defRPr sz="1200" b="1"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  <a:lvl4pPr>
              <a:defRPr sz="1200" b="1">
                <a:latin typeface="Open Sans" pitchFamily="34" charset="0"/>
                <a:ea typeface="Open Sans" pitchFamily="34" charset="0"/>
                <a:cs typeface="Open Sans" pitchFamily="34" charset="0"/>
              </a:defRPr>
            </a:lvl4pPr>
            <a:lvl5pPr>
              <a:defRPr sz="1200" b="1">
                <a:latin typeface="Open Sans" pitchFamily="34" charset="0"/>
                <a:ea typeface="Open Sans" pitchFamily="34" charset="0"/>
                <a:cs typeface="Open Sans" pitchFamily="34" charset="0"/>
              </a:defRPr>
            </a:lvl5pPr>
          </a:lstStyle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</a:pPr>
            <a:r>
              <a:rPr lang="en-US" dirty="0" smtClean="0"/>
              <a:t>Launch</a:t>
            </a:r>
            <a:endParaRPr lang="en-US" dirty="0"/>
          </a:p>
        </p:txBody>
      </p:sp>
      <p:pic>
        <p:nvPicPr>
          <p:cNvPr id="35" name="Picture 2" descr="C:\Documents and Settings\sarumuga\Desktop\Subha\CG Univerity\CG Univerity Jobs\University_logo_Col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2000" y="1524000"/>
            <a:ext cx="975239" cy="232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" name="Picture 3" descr="D:\svn\Projects\HTML5_conversions\11_Templates\Page_Layout\croped_images\Launch_Page\respDevice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50838" y="2057400"/>
            <a:ext cx="1796353" cy="1066800"/>
          </a:xfrm>
          <a:prstGeom prst="rect">
            <a:avLst/>
          </a:prstGeom>
          <a:noFill/>
        </p:spPr>
      </p:pic>
      <p:sp>
        <p:nvSpPr>
          <p:cNvPr id="12" name="Text Placeholder 45"/>
          <p:cNvSpPr>
            <a:spLocks noGrp="1"/>
          </p:cNvSpPr>
          <p:nvPr>
            <p:ph type="body" sz="quarter" idx="38" hasCustomPrompt="1"/>
          </p:nvPr>
        </p:nvSpPr>
        <p:spPr>
          <a:xfrm>
            <a:off x="5718047" y="1920240"/>
            <a:ext cx="2892553" cy="105156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lang="en-US" sz="1000" b="0" i="0" smtClean="0"/>
            </a:lvl1pPr>
            <a:lvl2pPr marL="114300" indent="-114300">
              <a:defRPr sz="1300"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228600" indent="-114300">
              <a:defRPr sz="1100"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b="0" i="0" dirty="0" smtClean="0">
                <a:solidFill>
                  <a:srgbClr val="333333"/>
                </a:solidFill>
                <a:latin typeface="Open Sans"/>
              </a:rPr>
              <a:t>The Managing Resistance module will introduce you to the resistances expected as part of a project. In this module, you will learn about the </a:t>
            </a:r>
            <a:r>
              <a:rPr lang="en-US" b="0" i="0" dirty="0" err="1" smtClean="0">
                <a:solidFill>
                  <a:srgbClr val="333333"/>
                </a:solidFill>
                <a:latin typeface="Open Sans"/>
              </a:rPr>
              <a:t>politicial</a:t>
            </a:r>
            <a:r>
              <a:rPr lang="en-US" b="0" i="0" dirty="0" smtClean="0">
                <a:solidFill>
                  <a:srgbClr val="333333"/>
                </a:solidFill>
                <a:latin typeface="Open Sans"/>
              </a:rPr>
              <a:t>, rational and emotional dimension of resistance and the ways to manage them.</a:t>
            </a:r>
            <a:r>
              <a:rPr lang="en-US" dirty="0" smtClean="0"/>
              <a:t> </a:t>
            </a:r>
          </a:p>
        </p:txBody>
      </p:sp>
      <p:sp>
        <p:nvSpPr>
          <p:cNvPr id="14" name="Text Placeholder 45"/>
          <p:cNvSpPr>
            <a:spLocks noGrp="1"/>
          </p:cNvSpPr>
          <p:nvPr>
            <p:ph type="body" sz="quarter" idx="39" hasCustomPrompt="1"/>
          </p:nvPr>
        </p:nvSpPr>
        <p:spPr>
          <a:xfrm>
            <a:off x="312738" y="3200400"/>
            <a:ext cx="1876425" cy="6096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lang="en-US" sz="1000" b="1" i="0" baseline="0" smtClean="0"/>
            </a:lvl1pPr>
            <a:lvl2pPr marL="114300" indent="-114300">
              <a:defRPr sz="1300"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228600" indent="-114300">
              <a:defRPr sz="1100"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b="0" i="0" dirty="0" smtClean="0">
                <a:solidFill>
                  <a:srgbClr val="000000"/>
                </a:solidFill>
                <a:latin typeface="Open Sans"/>
              </a:rPr>
              <a:t>Welcome to the course:</a:t>
            </a:r>
          </a:p>
          <a:p>
            <a:pPr lvl="0"/>
            <a:r>
              <a:rPr lang="en-US" b="1" i="0" dirty="0" smtClean="0">
                <a:solidFill>
                  <a:srgbClr val="000000"/>
                </a:solidFill>
                <a:latin typeface="Open Sans"/>
              </a:rPr>
              <a:t>Module 3 Managing Resistance</a:t>
            </a:r>
            <a:endParaRPr lang="en-US" dirty="0" smtClean="0"/>
          </a:p>
        </p:txBody>
      </p:sp>
      <p:sp>
        <p:nvSpPr>
          <p:cNvPr id="15" name="Text Placeholder 45"/>
          <p:cNvSpPr>
            <a:spLocks noGrp="1"/>
          </p:cNvSpPr>
          <p:nvPr>
            <p:ph type="body" sz="quarter" idx="40" hasCustomPrompt="1"/>
          </p:nvPr>
        </p:nvSpPr>
        <p:spPr>
          <a:xfrm>
            <a:off x="315787" y="3810000"/>
            <a:ext cx="1874450" cy="13716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lang="en-US" sz="900" b="0" i="0" smtClean="0"/>
            </a:lvl1pPr>
            <a:lvl2pPr marL="114300" indent="-114300">
              <a:defRPr sz="1300"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228600" indent="-114300">
              <a:defRPr sz="1100"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b="0" i="0" dirty="0" smtClean="0">
                <a:solidFill>
                  <a:srgbClr val="333333"/>
                </a:solidFill>
                <a:latin typeface="Open Sans"/>
              </a:rPr>
              <a:t>The Managing Resistance module will introduce you to the resistances expected as part of a project. In this module, you will learn about the </a:t>
            </a:r>
            <a:r>
              <a:rPr lang="en-US" b="0" i="0" dirty="0" err="1" smtClean="0">
                <a:solidFill>
                  <a:srgbClr val="333333"/>
                </a:solidFill>
                <a:latin typeface="Open Sans"/>
              </a:rPr>
              <a:t>politicial</a:t>
            </a:r>
            <a:r>
              <a:rPr lang="en-US" b="0" i="0" dirty="0" smtClean="0">
                <a:solidFill>
                  <a:srgbClr val="333333"/>
                </a:solidFill>
                <a:latin typeface="Open Sans"/>
              </a:rPr>
              <a:t>, rational and emotional dimension of resistance and the ways to manage them.</a:t>
            </a:r>
            <a:r>
              <a:rPr lang="en-US" dirty="0" smtClean="0"/>
              <a:t> 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rse Sta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icture Placeholder 20"/>
          <p:cNvSpPr>
            <a:spLocks noGrp="1"/>
          </p:cNvSpPr>
          <p:nvPr>
            <p:ph type="pic" sz="quarter" idx="16"/>
          </p:nvPr>
        </p:nvSpPr>
        <p:spPr>
          <a:xfrm>
            <a:off x="146303" y="879121"/>
            <a:ext cx="2168271" cy="338807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marL="342900" indent="-34290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4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22" name="Picture Placeholder 20"/>
          <p:cNvSpPr>
            <a:spLocks noGrp="1"/>
          </p:cNvSpPr>
          <p:nvPr>
            <p:ph type="pic" sz="quarter" idx="15"/>
          </p:nvPr>
        </p:nvSpPr>
        <p:spPr>
          <a:xfrm>
            <a:off x="2465706" y="1280110"/>
            <a:ext cx="6486271" cy="298709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marL="342900" indent="-34290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4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46" name="Text Placeholder 45"/>
          <p:cNvSpPr>
            <a:spLocks noGrp="1"/>
          </p:cNvSpPr>
          <p:nvPr>
            <p:ph type="body" sz="quarter" idx="17"/>
          </p:nvPr>
        </p:nvSpPr>
        <p:spPr>
          <a:xfrm>
            <a:off x="146304" y="3160775"/>
            <a:ext cx="2177796" cy="1100328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 marL="571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3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17145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2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28575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0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47" name="Text Placeholder 45"/>
          <p:cNvSpPr>
            <a:spLocks noGrp="1"/>
          </p:cNvSpPr>
          <p:nvPr>
            <p:ph type="body" sz="quarter" idx="18"/>
          </p:nvPr>
        </p:nvSpPr>
        <p:spPr>
          <a:xfrm>
            <a:off x="5907024" y="2593847"/>
            <a:ext cx="2670048" cy="1289304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/>
          <a:lstStyle>
            <a:lvl1pPr marL="119063" indent="-119063">
              <a:buNone/>
              <a:defRPr sz="1400"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114300" indent="-114300">
              <a:defRPr sz="1300"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228600" indent="-114300">
              <a:defRPr sz="1100"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grpSp>
        <p:nvGrpSpPr>
          <p:cNvPr id="2" name="Group 72"/>
          <p:cNvGrpSpPr/>
          <p:nvPr userDrawn="1"/>
        </p:nvGrpSpPr>
        <p:grpSpPr>
          <a:xfrm>
            <a:off x="140852" y="554828"/>
            <a:ext cx="8826701" cy="724418"/>
            <a:chOff x="140852" y="923636"/>
            <a:chExt cx="8826701" cy="724418"/>
          </a:xfrm>
        </p:grpSpPr>
        <p:grpSp>
          <p:nvGrpSpPr>
            <p:cNvPr id="3" name="Group 12"/>
            <p:cNvGrpSpPr/>
            <p:nvPr/>
          </p:nvGrpSpPr>
          <p:grpSpPr>
            <a:xfrm>
              <a:off x="2459187" y="1282395"/>
              <a:ext cx="6508366" cy="365659"/>
              <a:chOff x="-1" y="711412"/>
              <a:chExt cx="9153525" cy="514273"/>
            </a:xfrm>
          </p:grpSpPr>
          <p:sp>
            <p:nvSpPr>
              <p:cNvPr id="81" name="Flowchart: Process 80"/>
              <p:cNvSpPr/>
              <p:nvPr/>
            </p:nvSpPr>
            <p:spPr>
              <a:xfrm>
                <a:off x="-1" y="771525"/>
                <a:ext cx="9153525" cy="454160"/>
              </a:xfrm>
              <a:prstGeom prst="flowChartProcess">
                <a:avLst/>
              </a:prstGeom>
              <a:solidFill>
                <a:srgbClr val="585874"/>
              </a:solidFill>
              <a:ln>
                <a:noFill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algn="ctr" defTabSz="914400" rtl="0" eaLnBrk="1" latinLnBrk="0" hangingPunct="1"/>
                <a:endParaRPr lang="en-US" sz="2600" b="1" kern="1200" dirty="0">
                  <a:solidFill>
                    <a:schemeClr val="dk1"/>
                  </a:solidFill>
                  <a:latin typeface="Trebuchet MS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4" name="Group 19"/>
              <p:cNvGrpSpPr/>
              <p:nvPr/>
            </p:nvGrpSpPr>
            <p:grpSpPr>
              <a:xfrm>
                <a:off x="188844" y="890429"/>
                <a:ext cx="273844" cy="216511"/>
                <a:chOff x="377952" y="1463835"/>
                <a:chExt cx="273844" cy="216511"/>
              </a:xfrm>
            </p:grpSpPr>
            <p:sp>
              <p:nvSpPr>
                <p:cNvPr id="84" name="Rectangle 83"/>
                <p:cNvSpPr/>
                <p:nvPr/>
              </p:nvSpPr>
              <p:spPr>
                <a:xfrm>
                  <a:off x="377952" y="1463835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85" name="Rectangle 84"/>
                <p:cNvSpPr/>
                <p:nvPr/>
              </p:nvSpPr>
              <p:spPr>
                <a:xfrm>
                  <a:off x="377952" y="1549231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86" name="Rectangle 85"/>
                <p:cNvSpPr/>
                <p:nvPr/>
              </p:nvSpPr>
              <p:spPr>
                <a:xfrm>
                  <a:off x="377952" y="1634627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83" name="Freeform 82"/>
              <p:cNvSpPr/>
              <p:nvPr/>
            </p:nvSpPr>
            <p:spPr>
              <a:xfrm>
                <a:off x="534850" y="711412"/>
                <a:ext cx="461548" cy="226958"/>
              </a:xfrm>
              <a:custGeom>
                <a:avLst/>
                <a:gdLst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831715"/>
                  <a:gd name="connsiteY0" fmla="*/ 0 h 330741"/>
                  <a:gd name="connsiteX1" fmla="*/ 398834 w 831715"/>
                  <a:gd name="connsiteY1" fmla="*/ 330741 h 330741"/>
                  <a:gd name="connsiteX2" fmla="*/ 831715 w 831715"/>
                  <a:gd name="connsiteY2" fmla="*/ 4864 h 330741"/>
                  <a:gd name="connsiteX3" fmla="*/ 0 w 831715"/>
                  <a:gd name="connsiteY3" fmla="*/ 0 h 330741"/>
                  <a:gd name="connsiteX0" fmla="*/ 0 w 831715"/>
                  <a:gd name="connsiteY0" fmla="*/ 1469 h 332210"/>
                  <a:gd name="connsiteX1" fmla="*/ 398834 w 831715"/>
                  <a:gd name="connsiteY1" fmla="*/ 332210 h 332210"/>
                  <a:gd name="connsiteX2" fmla="*/ 831715 w 831715"/>
                  <a:gd name="connsiteY2" fmla="*/ 6333 h 332210"/>
                  <a:gd name="connsiteX3" fmla="*/ 0 w 831715"/>
                  <a:gd name="connsiteY3" fmla="*/ 1469 h 332210"/>
                  <a:gd name="connsiteX0" fmla="*/ 0 w 831715"/>
                  <a:gd name="connsiteY0" fmla="*/ 1469 h 332210"/>
                  <a:gd name="connsiteX1" fmla="*/ 411830 w 831715"/>
                  <a:gd name="connsiteY1" fmla="*/ 332210 h 332210"/>
                  <a:gd name="connsiteX2" fmla="*/ 831715 w 831715"/>
                  <a:gd name="connsiteY2" fmla="*/ 6333 h 332210"/>
                  <a:gd name="connsiteX3" fmla="*/ 0 w 831715"/>
                  <a:gd name="connsiteY3" fmla="*/ 1469 h 332210"/>
                  <a:gd name="connsiteX0" fmla="*/ 0 w 831715"/>
                  <a:gd name="connsiteY0" fmla="*/ 144420 h 475161"/>
                  <a:gd name="connsiteX1" fmla="*/ 411830 w 831715"/>
                  <a:gd name="connsiteY1" fmla="*/ 475161 h 475161"/>
                  <a:gd name="connsiteX2" fmla="*/ 831715 w 831715"/>
                  <a:gd name="connsiteY2" fmla="*/ 149284 h 475161"/>
                  <a:gd name="connsiteX3" fmla="*/ 667106 w 831715"/>
                  <a:gd name="connsiteY3" fmla="*/ 0 h 475161"/>
                  <a:gd name="connsiteX4" fmla="*/ 0 w 831715"/>
                  <a:gd name="connsiteY4" fmla="*/ 144420 h 475161"/>
                  <a:gd name="connsiteX0" fmla="*/ 0 w 831715"/>
                  <a:gd name="connsiteY0" fmla="*/ 144420 h 475161"/>
                  <a:gd name="connsiteX1" fmla="*/ 411830 w 831715"/>
                  <a:gd name="connsiteY1" fmla="*/ 475161 h 475161"/>
                  <a:gd name="connsiteX2" fmla="*/ 831715 w 831715"/>
                  <a:gd name="connsiteY2" fmla="*/ 149284 h 475161"/>
                  <a:gd name="connsiteX3" fmla="*/ 667106 w 831715"/>
                  <a:gd name="connsiteY3" fmla="*/ 0 h 475161"/>
                  <a:gd name="connsiteX4" fmla="*/ 4331 w 831715"/>
                  <a:gd name="connsiteY4" fmla="*/ 8665 h 475161"/>
                  <a:gd name="connsiteX5" fmla="*/ 0 w 831715"/>
                  <a:gd name="connsiteY5" fmla="*/ 144420 h 475161"/>
                  <a:gd name="connsiteX0" fmla="*/ 0 w 831715"/>
                  <a:gd name="connsiteY0" fmla="*/ 140087 h 470828"/>
                  <a:gd name="connsiteX1" fmla="*/ 411830 w 831715"/>
                  <a:gd name="connsiteY1" fmla="*/ 470828 h 470828"/>
                  <a:gd name="connsiteX2" fmla="*/ 831715 w 831715"/>
                  <a:gd name="connsiteY2" fmla="*/ 144951 h 470828"/>
                  <a:gd name="connsiteX3" fmla="*/ 831715 w 831715"/>
                  <a:gd name="connsiteY3" fmla="*/ 0 h 470828"/>
                  <a:gd name="connsiteX4" fmla="*/ 4331 w 831715"/>
                  <a:gd name="connsiteY4" fmla="*/ 4332 h 470828"/>
                  <a:gd name="connsiteX5" fmla="*/ 0 w 831715"/>
                  <a:gd name="connsiteY5" fmla="*/ 140087 h 470828"/>
                  <a:gd name="connsiteX0" fmla="*/ 0 w 831715"/>
                  <a:gd name="connsiteY0" fmla="*/ 135755 h 466496"/>
                  <a:gd name="connsiteX1" fmla="*/ 411830 w 831715"/>
                  <a:gd name="connsiteY1" fmla="*/ 466496 h 466496"/>
                  <a:gd name="connsiteX2" fmla="*/ 831715 w 831715"/>
                  <a:gd name="connsiteY2" fmla="*/ 140619 h 466496"/>
                  <a:gd name="connsiteX3" fmla="*/ 728459 w 831715"/>
                  <a:gd name="connsiteY3" fmla="*/ 55708 h 466496"/>
                  <a:gd name="connsiteX4" fmla="*/ 4331 w 831715"/>
                  <a:gd name="connsiteY4" fmla="*/ 0 h 466496"/>
                  <a:gd name="connsiteX5" fmla="*/ 0 w 831715"/>
                  <a:gd name="connsiteY5" fmla="*/ 135755 h 466496"/>
                  <a:gd name="connsiteX0" fmla="*/ 0 w 831715"/>
                  <a:gd name="connsiteY0" fmla="*/ 82129 h 412870"/>
                  <a:gd name="connsiteX1" fmla="*/ 411830 w 831715"/>
                  <a:gd name="connsiteY1" fmla="*/ 412870 h 412870"/>
                  <a:gd name="connsiteX2" fmla="*/ 831715 w 831715"/>
                  <a:gd name="connsiteY2" fmla="*/ 86993 h 412870"/>
                  <a:gd name="connsiteX3" fmla="*/ 728459 w 831715"/>
                  <a:gd name="connsiteY3" fmla="*/ 2082 h 412870"/>
                  <a:gd name="connsiteX4" fmla="*/ 4332 w 831715"/>
                  <a:gd name="connsiteY4" fmla="*/ 0 h 412870"/>
                  <a:gd name="connsiteX5" fmla="*/ 0 w 831715"/>
                  <a:gd name="connsiteY5" fmla="*/ 82129 h 412870"/>
                  <a:gd name="connsiteX0" fmla="*/ 0 w 839623"/>
                  <a:gd name="connsiteY0" fmla="*/ 82129 h 412870"/>
                  <a:gd name="connsiteX1" fmla="*/ 411830 w 839623"/>
                  <a:gd name="connsiteY1" fmla="*/ 412870 h 412870"/>
                  <a:gd name="connsiteX2" fmla="*/ 831715 w 839623"/>
                  <a:gd name="connsiteY2" fmla="*/ 86993 h 412870"/>
                  <a:gd name="connsiteX3" fmla="*/ 839623 w 839623"/>
                  <a:gd name="connsiteY3" fmla="*/ 2083 h 412870"/>
                  <a:gd name="connsiteX4" fmla="*/ 4332 w 839623"/>
                  <a:gd name="connsiteY4" fmla="*/ 0 h 412870"/>
                  <a:gd name="connsiteX5" fmla="*/ 0 w 839623"/>
                  <a:gd name="connsiteY5" fmla="*/ 82129 h 412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39623" h="412870">
                    <a:moveTo>
                      <a:pt x="0" y="82129"/>
                    </a:moveTo>
                    <a:cubicBezTo>
                      <a:pt x="145105" y="80660"/>
                      <a:pt x="310905" y="152503"/>
                      <a:pt x="411830" y="412870"/>
                    </a:cubicBezTo>
                    <a:cubicBezTo>
                      <a:pt x="496288" y="146322"/>
                      <a:pt x="642482" y="86841"/>
                      <a:pt x="831715" y="86993"/>
                    </a:cubicBezTo>
                    <a:lnTo>
                      <a:pt x="839623" y="2083"/>
                    </a:lnTo>
                    <a:lnTo>
                      <a:pt x="4332" y="0"/>
                    </a:lnTo>
                    <a:lnTo>
                      <a:pt x="0" y="8212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5" name="Group 34"/>
            <p:cNvGrpSpPr/>
            <p:nvPr userDrawn="1"/>
          </p:nvGrpSpPr>
          <p:grpSpPr>
            <a:xfrm>
              <a:off x="140852" y="923636"/>
              <a:ext cx="2187677" cy="322918"/>
              <a:chOff x="-2" y="771525"/>
              <a:chExt cx="3076802" cy="454160"/>
            </a:xfrm>
          </p:grpSpPr>
          <p:sp>
            <p:nvSpPr>
              <p:cNvPr id="76" name="Flowchart: Process 75"/>
              <p:cNvSpPr/>
              <p:nvPr/>
            </p:nvSpPr>
            <p:spPr>
              <a:xfrm>
                <a:off x="-2" y="771525"/>
                <a:ext cx="3076802" cy="454160"/>
              </a:xfrm>
              <a:prstGeom prst="flowChartProcess">
                <a:avLst/>
              </a:prstGeom>
              <a:solidFill>
                <a:srgbClr val="585874"/>
              </a:solidFill>
              <a:ln>
                <a:noFill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2600" b="1" dirty="0">
                  <a:solidFill>
                    <a:schemeClr val="dk1"/>
                  </a:solidFill>
                  <a:latin typeface="Trebuchet MS" pitchFamily="34" charset="0"/>
                </a:endParaRPr>
              </a:p>
            </p:txBody>
          </p:sp>
          <p:grpSp>
            <p:nvGrpSpPr>
              <p:cNvPr id="6" name="Group 36"/>
              <p:cNvGrpSpPr/>
              <p:nvPr/>
            </p:nvGrpSpPr>
            <p:grpSpPr>
              <a:xfrm>
                <a:off x="188844" y="890429"/>
                <a:ext cx="273844" cy="216511"/>
                <a:chOff x="377952" y="1463835"/>
                <a:chExt cx="273844" cy="216511"/>
              </a:xfrm>
            </p:grpSpPr>
            <p:sp>
              <p:nvSpPr>
                <p:cNvPr id="78" name="Rectangle 77"/>
                <p:cNvSpPr/>
                <p:nvPr/>
              </p:nvSpPr>
              <p:spPr>
                <a:xfrm>
                  <a:off x="377952" y="1463835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9" name="Rectangle 78"/>
                <p:cNvSpPr/>
                <p:nvPr/>
              </p:nvSpPr>
              <p:spPr>
                <a:xfrm>
                  <a:off x="377952" y="1549231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80" name="Rectangle 79"/>
                <p:cNvSpPr/>
                <p:nvPr/>
              </p:nvSpPr>
              <p:spPr>
                <a:xfrm>
                  <a:off x="377952" y="1634627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45"/>
          <p:cNvSpPr>
            <a:spLocks noGrp="1"/>
          </p:cNvSpPr>
          <p:nvPr>
            <p:ph type="body" sz="quarter" idx="17" hasCustomPrompt="1"/>
          </p:nvPr>
        </p:nvSpPr>
        <p:spPr>
          <a:xfrm>
            <a:off x="301752" y="1438656"/>
            <a:ext cx="1865376" cy="2066544"/>
          </a:xfrm>
          <a:prstGeom prst="rect">
            <a:avLst/>
          </a:prstGeom>
        </p:spPr>
        <p:txBody>
          <a:bodyPr/>
          <a:lstStyle>
            <a:lvl1pPr marL="119063" indent="-119063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0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28600" indent="-109538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9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3429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900" kern="12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H2</a:t>
            </a:r>
          </a:p>
          <a:p>
            <a:pPr lvl="1"/>
            <a:r>
              <a:rPr lang="en-US" dirty="0" smtClean="0"/>
              <a:t>Paragraph text</a:t>
            </a:r>
          </a:p>
          <a:p>
            <a:pPr lvl="2"/>
            <a:r>
              <a:rPr lang="en-US" dirty="0" smtClean="0"/>
              <a:t>Bullet text</a:t>
            </a:r>
            <a:endParaRPr lang="en-US" dirty="0"/>
          </a:p>
        </p:txBody>
      </p:sp>
      <p:sp>
        <p:nvSpPr>
          <p:cNvPr id="22" name="Text Placeholder 45"/>
          <p:cNvSpPr>
            <a:spLocks noGrp="1"/>
          </p:cNvSpPr>
          <p:nvPr>
            <p:ph type="body" sz="quarter" idx="18" hasCustomPrompt="1"/>
          </p:nvPr>
        </p:nvSpPr>
        <p:spPr>
          <a:xfrm>
            <a:off x="2871216" y="1695831"/>
            <a:ext cx="5705856" cy="1152144"/>
          </a:xfrm>
          <a:prstGeom prst="rect">
            <a:avLst/>
          </a:prstGeom>
        </p:spPr>
        <p:txBody>
          <a:bodyPr/>
          <a:lstStyle>
            <a:lvl1pPr marL="119063" indent="-119063">
              <a:defRPr sz="1100"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28600" indent="-109538">
              <a:defRPr sz="1000" baseline="0"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342900" indent="-114300">
              <a:defRPr sz="1000"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H2</a:t>
            </a:r>
          </a:p>
          <a:p>
            <a:pPr lvl="1"/>
            <a:r>
              <a:rPr lang="en-US" dirty="0" smtClean="0"/>
              <a:t>Paragraph text</a:t>
            </a:r>
          </a:p>
          <a:p>
            <a:pPr lvl="2"/>
            <a:r>
              <a:rPr lang="en-US" dirty="0" smtClean="0"/>
              <a:t>Bullet  text</a:t>
            </a:r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193962" y="965109"/>
            <a:ext cx="2073751" cy="457200"/>
          </a:xfrm>
          <a:prstGeom prst="rect">
            <a:avLst/>
          </a:prstGeom>
          <a:noFill/>
        </p:spPr>
        <p:txBody>
          <a:bodyPr anchor="t">
            <a:noAutofit/>
          </a:bodyPr>
          <a:lstStyle>
            <a:lvl1pPr marL="19050" indent="0" algn="l" defTabSz="914400" rtl="0" eaLnBrk="1" latinLnBrk="0" hangingPunct="1">
              <a:spcBef>
                <a:spcPct val="0"/>
              </a:spcBef>
              <a:buNone/>
              <a:defRPr lang="en-US" sz="1100" kern="1200" dirty="0">
                <a:solidFill>
                  <a:srgbClr val="242748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 dirty="0" smtClean="0"/>
              <a:t>H1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1090" y="1383031"/>
            <a:ext cx="5705983" cy="28546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1200">
                <a:solidFill>
                  <a:srgbClr val="242748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H1</a:t>
            </a:r>
            <a:endParaRPr lang="en-US" dirty="0"/>
          </a:p>
        </p:txBody>
      </p:sp>
      <p:grpSp>
        <p:nvGrpSpPr>
          <p:cNvPr id="25" name="Group 72"/>
          <p:cNvGrpSpPr/>
          <p:nvPr userDrawn="1"/>
        </p:nvGrpSpPr>
        <p:grpSpPr>
          <a:xfrm>
            <a:off x="140852" y="554828"/>
            <a:ext cx="8826701" cy="724418"/>
            <a:chOff x="140852" y="923636"/>
            <a:chExt cx="8826701" cy="724418"/>
          </a:xfrm>
        </p:grpSpPr>
        <p:grpSp>
          <p:nvGrpSpPr>
            <p:cNvPr id="26" name="Group 12"/>
            <p:cNvGrpSpPr/>
            <p:nvPr/>
          </p:nvGrpSpPr>
          <p:grpSpPr>
            <a:xfrm>
              <a:off x="2459187" y="1282395"/>
              <a:ext cx="6508366" cy="365659"/>
              <a:chOff x="-1" y="711412"/>
              <a:chExt cx="9153525" cy="514273"/>
            </a:xfrm>
          </p:grpSpPr>
          <p:sp>
            <p:nvSpPr>
              <p:cNvPr id="33" name="Flowchart: Process 32"/>
              <p:cNvSpPr/>
              <p:nvPr/>
            </p:nvSpPr>
            <p:spPr>
              <a:xfrm>
                <a:off x="-1" y="771525"/>
                <a:ext cx="9153525" cy="454160"/>
              </a:xfrm>
              <a:prstGeom prst="flowChartProcess">
                <a:avLst/>
              </a:prstGeom>
              <a:solidFill>
                <a:srgbClr val="585874"/>
              </a:solidFill>
              <a:ln>
                <a:noFill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algn="ctr" defTabSz="914400" rtl="0" eaLnBrk="1" latinLnBrk="0" hangingPunct="1"/>
                <a:endParaRPr lang="en-US" sz="2600" b="1" kern="1200" dirty="0">
                  <a:solidFill>
                    <a:schemeClr val="dk1"/>
                  </a:solidFill>
                  <a:latin typeface="Trebuchet MS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34" name="Group 19"/>
              <p:cNvGrpSpPr/>
              <p:nvPr/>
            </p:nvGrpSpPr>
            <p:grpSpPr>
              <a:xfrm>
                <a:off x="188844" y="890429"/>
                <a:ext cx="273844" cy="216511"/>
                <a:chOff x="377952" y="1463835"/>
                <a:chExt cx="273844" cy="216511"/>
              </a:xfrm>
            </p:grpSpPr>
            <p:sp>
              <p:nvSpPr>
                <p:cNvPr id="36" name="Rectangle 35"/>
                <p:cNvSpPr/>
                <p:nvPr/>
              </p:nvSpPr>
              <p:spPr>
                <a:xfrm>
                  <a:off x="377952" y="1463835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7" name="Rectangle 36"/>
                <p:cNvSpPr/>
                <p:nvPr/>
              </p:nvSpPr>
              <p:spPr>
                <a:xfrm>
                  <a:off x="377952" y="1549231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" name="Rectangle 37"/>
                <p:cNvSpPr/>
                <p:nvPr/>
              </p:nvSpPr>
              <p:spPr>
                <a:xfrm>
                  <a:off x="377952" y="1634627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35" name="Freeform 34"/>
              <p:cNvSpPr/>
              <p:nvPr/>
            </p:nvSpPr>
            <p:spPr>
              <a:xfrm>
                <a:off x="534850" y="711412"/>
                <a:ext cx="461548" cy="226958"/>
              </a:xfrm>
              <a:custGeom>
                <a:avLst/>
                <a:gdLst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831715"/>
                  <a:gd name="connsiteY0" fmla="*/ 0 h 330741"/>
                  <a:gd name="connsiteX1" fmla="*/ 398834 w 831715"/>
                  <a:gd name="connsiteY1" fmla="*/ 330741 h 330741"/>
                  <a:gd name="connsiteX2" fmla="*/ 831715 w 831715"/>
                  <a:gd name="connsiteY2" fmla="*/ 4864 h 330741"/>
                  <a:gd name="connsiteX3" fmla="*/ 0 w 831715"/>
                  <a:gd name="connsiteY3" fmla="*/ 0 h 330741"/>
                  <a:gd name="connsiteX0" fmla="*/ 0 w 831715"/>
                  <a:gd name="connsiteY0" fmla="*/ 1469 h 332210"/>
                  <a:gd name="connsiteX1" fmla="*/ 398834 w 831715"/>
                  <a:gd name="connsiteY1" fmla="*/ 332210 h 332210"/>
                  <a:gd name="connsiteX2" fmla="*/ 831715 w 831715"/>
                  <a:gd name="connsiteY2" fmla="*/ 6333 h 332210"/>
                  <a:gd name="connsiteX3" fmla="*/ 0 w 831715"/>
                  <a:gd name="connsiteY3" fmla="*/ 1469 h 332210"/>
                  <a:gd name="connsiteX0" fmla="*/ 0 w 831715"/>
                  <a:gd name="connsiteY0" fmla="*/ 1469 h 332210"/>
                  <a:gd name="connsiteX1" fmla="*/ 411830 w 831715"/>
                  <a:gd name="connsiteY1" fmla="*/ 332210 h 332210"/>
                  <a:gd name="connsiteX2" fmla="*/ 831715 w 831715"/>
                  <a:gd name="connsiteY2" fmla="*/ 6333 h 332210"/>
                  <a:gd name="connsiteX3" fmla="*/ 0 w 831715"/>
                  <a:gd name="connsiteY3" fmla="*/ 1469 h 332210"/>
                  <a:gd name="connsiteX0" fmla="*/ 0 w 831715"/>
                  <a:gd name="connsiteY0" fmla="*/ 144420 h 475161"/>
                  <a:gd name="connsiteX1" fmla="*/ 411830 w 831715"/>
                  <a:gd name="connsiteY1" fmla="*/ 475161 h 475161"/>
                  <a:gd name="connsiteX2" fmla="*/ 831715 w 831715"/>
                  <a:gd name="connsiteY2" fmla="*/ 149284 h 475161"/>
                  <a:gd name="connsiteX3" fmla="*/ 667106 w 831715"/>
                  <a:gd name="connsiteY3" fmla="*/ 0 h 475161"/>
                  <a:gd name="connsiteX4" fmla="*/ 0 w 831715"/>
                  <a:gd name="connsiteY4" fmla="*/ 144420 h 475161"/>
                  <a:gd name="connsiteX0" fmla="*/ 0 w 831715"/>
                  <a:gd name="connsiteY0" fmla="*/ 144420 h 475161"/>
                  <a:gd name="connsiteX1" fmla="*/ 411830 w 831715"/>
                  <a:gd name="connsiteY1" fmla="*/ 475161 h 475161"/>
                  <a:gd name="connsiteX2" fmla="*/ 831715 w 831715"/>
                  <a:gd name="connsiteY2" fmla="*/ 149284 h 475161"/>
                  <a:gd name="connsiteX3" fmla="*/ 667106 w 831715"/>
                  <a:gd name="connsiteY3" fmla="*/ 0 h 475161"/>
                  <a:gd name="connsiteX4" fmla="*/ 4331 w 831715"/>
                  <a:gd name="connsiteY4" fmla="*/ 8665 h 475161"/>
                  <a:gd name="connsiteX5" fmla="*/ 0 w 831715"/>
                  <a:gd name="connsiteY5" fmla="*/ 144420 h 475161"/>
                  <a:gd name="connsiteX0" fmla="*/ 0 w 831715"/>
                  <a:gd name="connsiteY0" fmla="*/ 140087 h 470828"/>
                  <a:gd name="connsiteX1" fmla="*/ 411830 w 831715"/>
                  <a:gd name="connsiteY1" fmla="*/ 470828 h 470828"/>
                  <a:gd name="connsiteX2" fmla="*/ 831715 w 831715"/>
                  <a:gd name="connsiteY2" fmla="*/ 144951 h 470828"/>
                  <a:gd name="connsiteX3" fmla="*/ 831715 w 831715"/>
                  <a:gd name="connsiteY3" fmla="*/ 0 h 470828"/>
                  <a:gd name="connsiteX4" fmla="*/ 4331 w 831715"/>
                  <a:gd name="connsiteY4" fmla="*/ 4332 h 470828"/>
                  <a:gd name="connsiteX5" fmla="*/ 0 w 831715"/>
                  <a:gd name="connsiteY5" fmla="*/ 140087 h 470828"/>
                  <a:gd name="connsiteX0" fmla="*/ 0 w 831715"/>
                  <a:gd name="connsiteY0" fmla="*/ 135755 h 466496"/>
                  <a:gd name="connsiteX1" fmla="*/ 411830 w 831715"/>
                  <a:gd name="connsiteY1" fmla="*/ 466496 h 466496"/>
                  <a:gd name="connsiteX2" fmla="*/ 831715 w 831715"/>
                  <a:gd name="connsiteY2" fmla="*/ 140619 h 466496"/>
                  <a:gd name="connsiteX3" fmla="*/ 728459 w 831715"/>
                  <a:gd name="connsiteY3" fmla="*/ 55708 h 466496"/>
                  <a:gd name="connsiteX4" fmla="*/ 4331 w 831715"/>
                  <a:gd name="connsiteY4" fmla="*/ 0 h 466496"/>
                  <a:gd name="connsiteX5" fmla="*/ 0 w 831715"/>
                  <a:gd name="connsiteY5" fmla="*/ 135755 h 466496"/>
                  <a:gd name="connsiteX0" fmla="*/ 0 w 831715"/>
                  <a:gd name="connsiteY0" fmla="*/ 82129 h 412870"/>
                  <a:gd name="connsiteX1" fmla="*/ 411830 w 831715"/>
                  <a:gd name="connsiteY1" fmla="*/ 412870 h 412870"/>
                  <a:gd name="connsiteX2" fmla="*/ 831715 w 831715"/>
                  <a:gd name="connsiteY2" fmla="*/ 86993 h 412870"/>
                  <a:gd name="connsiteX3" fmla="*/ 728459 w 831715"/>
                  <a:gd name="connsiteY3" fmla="*/ 2082 h 412870"/>
                  <a:gd name="connsiteX4" fmla="*/ 4332 w 831715"/>
                  <a:gd name="connsiteY4" fmla="*/ 0 h 412870"/>
                  <a:gd name="connsiteX5" fmla="*/ 0 w 831715"/>
                  <a:gd name="connsiteY5" fmla="*/ 82129 h 412870"/>
                  <a:gd name="connsiteX0" fmla="*/ 0 w 839623"/>
                  <a:gd name="connsiteY0" fmla="*/ 82129 h 412870"/>
                  <a:gd name="connsiteX1" fmla="*/ 411830 w 839623"/>
                  <a:gd name="connsiteY1" fmla="*/ 412870 h 412870"/>
                  <a:gd name="connsiteX2" fmla="*/ 831715 w 839623"/>
                  <a:gd name="connsiteY2" fmla="*/ 86993 h 412870"/>
                  <a:gd name="connsiteX3" fmla="*/ 839623 w 839623"/>
                  <a:gd name="connsiteY3" fmla="*/ 2083 h 412870"/>
                  <a:gd name="connsiteX4" fmla="*/ 4332 w 839623"/>
                  <a:gd name="connsiteY4" fmla="*/ 0 h 412870"/>
                  <a:gd name="connsiteX5" fmla="*/ 0 w 839623"/>
                  <a:gd name="connsiteY5" fmla="*/ 82129 h 412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39623" h="412870">
                    <a:moveTo>
                      <a:pt x="0" y="82129"/>
                    </a:moveTo>
                    <a:cubicBezTo>
                      <a:pt x="145105" y="80660"/>
                      <a:pt x="310905" y="152503"/>
                      <a:pt x="411830" y="412870"/>
                    </a:cubicBezTo>
                    <a:cubicBezTo>
                      <a:pt x="496288" y="146322"/>
                      <a:pt x="642482" y="86841"/>
                      <a:pt x="831715" y="86993"/>
                    </a:cubicBezTo>
                    <a:lnTo>
                      <a:pt x="839623" y="2083"/>
                    </a:lnTo>
                    <a:lnTo>
                      <a:pt x="4332" y="0"/>
                    </a:lnTo>
                    <a:lnTo>
                      <a:pt x="0" y="8212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27" name="Group 34"/>
            <p:cNvGrpSpPr/>
            <p:nvPr userDrawn="1"/>
          </p:nvGrpSpPr>
          <p:grpSpPr>
            <a:xfrm>
              <a:off x="140852" y="923636"/>
              <a:ext cx="2187677" cy="322918"/>
              <a:chOff x="-2" y="771525"/>
              <a:chExt cx="3076802" cy="454160"/>
            </a:xfrm>
          </p:grpSpPr>
          <p:sp>
            <p:nvSpPr>
              <p:cNvPr id="28" name="Flowchart: Process 27"/>
              <p:cNvSpPr/>
              <p:nvPr/>
            </p:nvSpPr>
            <p:spPr>
              <a:xfrm>
                <a:off x="-2" y="771525"/>
                <a:ext cx="3076802" cy="454160"/>
              </a:xfrm>
              <a:prstGeom prst="flowChartProcess">
                <a:avLst/>
              </a:prstGeom>
              <a:solidFill>
                <a:srgbClr val="585874"/>
              </a:solidFill>
              <a:ln>
                <a:noFill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2600" b="1" dirty="0">
                  <a:solidFill>
                    <a:schemeClr val="dk1"/>
                  </a:solidFill>
                  <a:latin typeface="Trebuchet MS" pitchFamily="34" charset="0"/>
                </a:endParaRPr>
              </a:p>
            </p:txBody>
          </p:sp>
          <p:grpSp>
            <p:nvGrpSpPr>
              <p:cNvPr id="29" name="Group 36"/>
              <p:cNvGrpSpPr/>
              <p:nvPr/>
            </p:nvGrpSpPr>
            <p:grpSpPr>
              <a:xfrm>
                <a:off x="188844" y="890429"/>
                <a:ext cx="273844" cy="216511"/>
                <a:chOff x="377952" y="1463835"/>
                <a:chExt cx="273844" cy="216511"/>
              </a:xfrm>
            </p:grpSpPr>
            <p:sp>
              <p:nvSpPr>
                <p:cNvPr id="30" name="Rectangle 29"/>
                <p:cNvSpPr/>
                <p:nvPr/>
              </p:nvSpPr>
              <p:spPr>
                <a:xfrm>
                  <a:off x="377952" y="1463835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1" name="Rectangle 30"/>
                <p:cNvSpPr/>
                <p:nvPr/>
              </p:nvSpPr>
              <p:spPr>
                <a:xfrm>
                  <a:off x="377952" y="1549231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2" name="Rectangle 31"/>
                <p:cNvSpPr/>
                <p:nvPr/>
              </p:nvSpPr>
              <p:spPr>
                <a:xfrm>
                  <a:off x="377952" y="1634627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w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/>
          <p:cNvSpPr>
            <a:spLocks noGrp="1"/>
          </p:cNvSpPr>
          <p:nvPr>
            <p:ph type="ctrTitle" hasCustomPrompt="1"/>
          </p:nvPr>
        </p:nvSpPr>
        <p:spPr>
          <a:xfrm>
            <a:off x="193962" y="925392"/>
            <a:ext cx="2073751" cy="457200"/>
          </a:xfrm>
          <a:prstGeom prst="rect">
            <a:avLst/>
          </a:prstGeom>
          <a:noFill/>
        </p:spPr>
        <p:txBody>
          <a:bodyPr anchor="t">
            <a:noAutofit/>
          </a:bodyPr>
          <a:lstStyle>
            <a:lvl1pPr marL="19050" indent="0" algn="l" defTabSz="914400" rtl="0" eaLnBrk="1" latinLnBrk="0" hangingPunct="1">
              <a:spcBef>
                <a:spcPct val="0"/>
              </a:spcBef>
              <a:buNone/>
              <a:defRPr lang="en-US" sz="1100" kern="1200" dirty="0">
                <a:solidFill>
                  <a:srgbClr val="242748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 dirty="0" smtClean="0"/>
              <a:t>H1</a:t>
            </a:r>
            <a:endParaRPr lang="en-US" dirty="0"/>
          </a:p>
        </p:txBody>
      </p:sp>
      <p:sp>
        <p:nvSpPr>
          <p:cNvPr id="3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1090" y="1343314"/>
            <a:ext cx="5705983" cy="28546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1200">
                <a:solidFill>
                  <a:srgbClr val="242748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H1</a:t>
            </a:r>
            <a:endParaRPr lang="en-US" dirty="0"/>
          </a:p>
        </p:txBody>
      </p:sp>
      <p:sp>
        <p:nvSpPr>
          <p:cNvPr id="51" name="Content Placeholder 34"/>
          <p:cNvSpPr>
            <a:spLocks noGrp="1"/>
          </p:cNvSpPr>
          <p:nvPr>
            <p:ph sz="quarter" idx="21" hasCustomPrompt="1"/>
          </p:nvPr>
        </p:nvSpPr>
        <p:spPr>
          <a:xfrm>
            <a:off x="2880742" y="1695450"/>
            <a:ext cx="5682233" cy="1371600"/>
          </a:xfrm>
          <a:prstGeom prst="rect">
            <a:avLst/>
          </a:prstGeom>
          <a:solidFill>
            <a:srgbClr val="DBE6C4"/>
          </a:solidFill>
        </p:spPr>
        <p:txBody>
          <a:bodyPr anchor="b" anchorCtr="1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2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342900" lvl="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Insert Object</a:t>
            </a:r>
            <a:endParaRPr lang="en-US" dirty="0"/>
          </a:p>
        </p:txBody>
      </p:sp>
      <p:sp>
        <p:nvSpPr>
          <p:cNvPr id="52" name="Content Placeholder 34"/>
          <p:cNvSpPr>
            <a:spLocks noGrp="1"/>
          </p:cNvSpPr>
          <p:nvPr>
            <p:ph sz="quarter" idx="22" hasCustomPrompt="1"/>
          </p:nvPr>
        </p:nvSpPr>
        <p:spPr>
          <a:xfrm>
            <a:off x="304801" y="1419227"/>
            <a:ext cx="1866900" cy="714374"/>
          </a:xfrm>
          <a:prstGeom prst="rect">
            <a:avLst/>
          </a:prstGeom>
          <a:solidFill>
            <a:srgbClr val="DBE6C4"/>
          </a:solidFill>
        </p:spPr>
        <p:txBody>
          <a:bodyPr anchor="b" anchorCtr="1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2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342900" lvl="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Insert Object</a:t>
            </a:r>
            <a:endParaRPr lang="en-US" dirty="0"/>
          </a:p>
        </p:txBody>
      </p:sp>
      <p:sp>
        <p:nvSpPr>
          <p:cNvPr id="60" name="Table Placeholder 33"/>
          <p:cNvSpPr>
            <a:spLocks noGrp="1"/>
          </p:cNvSpPr>
          <p:nvPr>
            <p:ph type="tbl" sz="quarter" idx="26"/>
          </p:nvPr>
        </p:nvSpPr>
        <p:spPr>
          <a:xfrm>
            <a:off x="2876551" y="4343399"/>
            <a:ext cx="2819400" cy="1133475"/>
          </a:xfrm>
          <a:prstGeom prst="rect">
            <a:avLst/>
          </a:prstGeom>
        </p:spPr>
        <p:txBody>
          <a:bodyPr anchor="b" anchorCtr="1"/>
          <a:lstStyle>
            <a:lvl1pPr marL="114300" indent="-114300">
              <a:buNone/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1" name="Table Placeholder 33"/>
          <p:cNvSpPr>
            <a:spLocks noGrp="1"/>
          </p:cNvSpPr>
          <p:nvPr>
            <p:ph type="tbl" sz="quarter" idx="27"/>
          </p:nvPr>
        </p:nvSpPr>
        <p:spPr>
          <a:xfrm>
            <a:off x="5743575" y="4343399"/>
            <a:ext cx="2819400" cy="1133475"/>
          </a:xfrm>
          <a:prstGeom prst="rect">
            <a:avLst/>
          </a:prstGeom>
        </p:spPr>
        <p:txBody>
          <a:bodyPr anchor="b" anchorCtr="1"/>
          <a:lstStyle>
            <a:lvl1pPr marL="114300" indent="-114300">
              <a:buNone/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2" name="Table Placeholder 33"/>
          <p:cNvSpPr>
            <a:spLocks noGrp="1"/>
          </p:cNvSpPr>
          <p:nvPr>
            <p:ph type="tbl" sz="quarter" idx="30"/>
          </p:nvPr>
        </p:nvSpPr>
        <p:spPr>
          <a:xfrm>
            <a:off x="304802" y="4371973"/>
            <a:ext cx="1866900" cy="2105026"/>
          </a:xfrm>
          <a:prstGeom prst="rect">
            <a:avLst/>
          </a:prstGeom>
        </p:spPr>
        <p:txBody>
          <a:bodyPr anchor="b" anchorCtr="1"/>
          <a:lstStyle>
            <a:lvl1pPr marL="114300" indent="-114300">
              <a:buNone/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Text Placeholder 45"/>
          <p:cNvSpPr>
            <a:spLocks noGrp="1"/>
          </p:cNvSpPr>
          <p:nvPr>
            <p:ph type="body" sz="quarter" idx="17" hasCustomPrompt="1"/>
          </p:nvPr>
        </p:nvSpPr>
        <p:spPr>
          <a:xfrm>
            <a:off x="301752" y="2171700"/>
            <a:ext cx="1865376" cy="2066544"/>
          </a:xfrm>
          <a:prstGeom prst="rect">
            <a:avLst/>
          </a:prstGeom>
        </p:spPr>
        <p:txBody>
          <a:bodyPr/>
          <a:lstStyle>
            <a:lvl1pPr marL="119063" indent="-119063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0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28600" indent="-109538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9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3429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900" kern="12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H2</a:t>
            </a:r>
          </a:p>
          <a:p>
            <a:pPr lvl="1"/>
            <a:r>
              <a:rPr lang="en-US" dirty="0" smtClean="0"/>
              <a:t>Paragraph text</a:t>
            </a:r>
          </a:p>
          <a:p>
            <a:pPr lvl="2"/>
            <a:r>
              <a:rPr lang="en-US" dirty="0" smtClean="0"/>
              <a:t>Bullet text</a:t>
            </a:r>
            <a:endParaRPr lang="en-US" dirty="0"/>
          </a:p>
        </p:txBody>
      </p:sp>
      <p:sp>
        <p:nvSpPr>
          <p:cNvPr id="41" name="Text Placeholder 45"/>
          <p:cNvSpPr>
            <a:spLocks noGrp="1"/>
          </p:cNvSpPr>
          <p:nvPr>
            <p:ph type="body" sz="quarter" idx="31" hasCustomPrompt="1"/>
          </p:nvPr>
        </p:nvSpPr>
        <p:spPr>
          <a:xfrm>
            <a:off x="2871216" y="3105531"/>
            <a:ext cx="5705856" cy="1152144"/>
          </a:xfrm>
          <a:prstGeom prst="rect">
            <a:avLst/>
          </a:prstGeom>
        </p:spPr>
        <p:txBody>
          <a:bodyPr/>
          <a:lstStyle>
            <a:lvl1pPr marL="119063" indent="-119063">
              <a:defRPr sz="1100"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28600" indent="-109538">
              <a:defRPr sz="1000" baseline="0"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342900" indent="-114300">
              <a:defRPr sz="1000"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H2</a:t>
            </a:r>
          </a:p>
          <a:p>
            <a:pPr lvl="1"/>
            <a:r>
              <a:rPr lang="en-US" dirty="0" smtClean="0"/>
              <a:t>Paragraph text</a:t>
            </a:r>
          </a:p>
          <a:p>
            <a:pPr lvl="2"/>
            <a:r>
              <a:rPr lang="en-US" dirty="0" smtClean="0"/>
              <a:t>Bullet  text</a:t>
            </a:r>
            <a:endParaRPr lang="en-US" dirty="0"/>
          </a:p>
        </p:txBody>
      </p:sp>
      <p:grpSp>
        <p:nvGrpSpPr>
          <p:cNvPr id="42" name="Group 72"/>
          <p:cNvGrpSpPr/>
          <p:nvPr userDrawn="1"/>
        </p:nvGrpSpPr>
        <p:grpSpPr>
          <a:xfrm>
            <a:off x="140852" y="554828"/>
            <a:ext cx="8826701" cy="724418"/>
            <a:chOff x="140852" y="923636"/>
            <a:chExt cx="8826701" cy="724418"/>
          </a:xfrm>
        </p:grpSpPr>
        <p:grpSp>
          <p:nvGrpSpPr>
            <p:cNvPr id="43" name="Group 12"/>
            <p:cNvGrpSpPr/>
            <p:nvPr/>
          </p:nvGrpSpPr>
          <p:grpSpPr>
            <a:xfrm>
              <a:off x="2459187" y="1282395"/>
              <a:ext cx="6508366" cy="365659"/>
              <a:chOff x="-1" y="711412"/>
              <a:chExt cx="9153525" cy="514273"/>
            </a:xfrm>
          </p:grpSpPr>
          <p:sp>
            <p:nvSpPr>
              <p:cNvPr id="57" name="Flowchart: Process 56"/>
              <p:cNvSpPr/>
              <p:nvPr/>
            </p:nvSpPr>
            <p:spPr>
              <a:xfrm>
                <a:off x="-1" y="771525"/>
                <a:ext cx="9153525" cy="454160"/>
              </a:xfrm>
              <a:prstGeom prst="flowChartProcess">
                <a:avLst/>
              </a:prstGeom>
              <a:solidFill>
                <a:srgbClr val="585874"/>
              </a:solidFill>
              <a:ln>
                <a:noFill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algn="ctr" defTabSz="914400" rtl="0" eaLnBrk="1" latinLnBrk="0" hangingPunct="1"/>
                <a:endParaRPr lang="en-US" sz="2600" b="1" kern="1200" dirty="0">
                  <a:solidFill>
                    <a:schemeClr val="dk1"/>
                  </a:solidFill>
                  <a:latin typeface="Trebuchet MS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58" name="Group 19"/>
              <p:cNvGrpSpPr/>
              <p:nvPr/>
            </p:nvGrpSpPr>
            <p:grpSpPr>
              <a:xfrm>
                <a:off x="188844" y="890429"/>
                <a:ext cx="273844" cy="216511"/>
                <a:chOff x="377952" y="1463835"/>
                <a:chExt cx="273844" cy="216511"/>
              </a:xfrm>
            </p:grpSpPr>
            <p:sp>
              <p:nvSpPr>
                <p:cNvPr id="63" name="Rectangle 62"/>
                <p:cNvSpPr/>
                <p:nvPr/>
              </p:nvSpPr>
              <p:spPr>
                <a:xfrm>
                  <a:off x="377952" y="1463835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4" name="Rectangle 63"/>
                <p:cNvSpPr/>
                <p:nvPr/>
              </p:nvSpPr>
              <p:spPr>
                <a:xfrm>
                  <a:off x="377952" y="1549231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5" name="Rectangle 64"/>
                <p:cNvSpPr/>
                <p:nvPr/>
              </p:nvSpPr>
              <p:spPr>
                <a:xfrm>
                  <a:off x="377952" y="1634627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59" name="Freeform 58"/>
              <p:cNvSpPr/>
              <p:nvPr/>
            </p:nvSpPr>
            <p:spPr>
              <a:xfrm>
                <a:off x="534850" y="711412"/>
                <a:ext cx="461548" cy="226958"/>
              </a:xfrm>
              <a:custGeom>
                <a:avLst/>
                <a:gdLst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831715"/>
                  <a:gd name="connsiteY0" fmla="*/ 0 h 330741"/>
                  <a:gd name="connsiteX1" fmla="*/ 398834 w 831715"/>
                  <a:gd name="connsiteY1" fmla="*/ 330741 h 330741"/>
                  <a:gd name="connsiteX2" fmla="*/ 831715 w 831715"/>
                  <a:gd name="connsiteY2" fmla="*/ 4864 h 330741"/>
                  <a:gd name="connsiteX3" fmla="*/ 0 w 831715"/>
                  <a:gd name="connsiteY3" fmla="*/ 0 h 330741"/>
                  <a:gd name="connsiteX0" fmla="*/ 0 w 831715"/>
                  <a:gd name="connsiteY0" fmla="*/ 1469 h 332210"/>
                  <a:gd name="connsiteX1" fmla="*/ 398834 w 831715"/>
                  <a:gd name="connsiteY1" fmla="*/ 332210 h 332210"/>
                  <a:gd name="connsiteX2" fmla="*/ 831715 w 831715"/>
                  <a:gd name="connsiteY2" fmla="*/ 6333 h 332210"/>
                  <a:gd name="connsiteX3" fmla="*/ 0 w 831715"/>
                  <a:gd name="connsiteY3" fmla="*/ 1469 h 332210"/>
                  <a:gd name="connsiteX0" fmla="*/ 0 w 831715"/>
                  <a:gd name="connsiteY0" fmla="*/ 1469 h 332210"/>
                  <a:gd name="connsiteX1" fmla="*/ 411830 w 831715"/>
                  <a:gd name="connsiteY1" fmla="*/ 332210 h 332210"/>
                  <a:gd name="connsiteX2" fmla="*/ 831715 w 831715"/>
                  <a:gd name="connsiteY2" fmla="*/ 6333 h 332210"/>
                  <a:gd name="connsiteX3" fmla="*/ 0 w 831715"/>
                  <a:gd name="connsiteY3" fmla="*/ 1469 h 332210"/>
                  <a:gd name="connsiteX0" fmla="*/ 0 w 831715"/>
                  <a:gd name="connsiteY0" fmla="*/ 144420 h 475161"/>
                  <a:gd name="connsiteX1" fmla="*/ 411830 w 831715"/>
                  <a:gd name="connsiteY1" fmla="*/ 475161 h 475161"/>
                  <a:gd name="connsiteX2" fmla="*/ 831715 w 831715"/>
                  <a:gd name="connsiteY2" fmla="*/ 149284 h 475161"/>
                  <a:gd name="connsiteX3" fmla="*/ 667106 w 831715"/>
                  <a:gd name="connsiteY3" fmla="*/ 0 h 475161"/>
                  <a:gd name="connsiteX4" fmla="*/ 0 w 831715"/>
                  <a:gd name="connsiteY4" fmla="*/ 144420 h 475161"/>
                  <a:gd name="connsiteX0" fmla="*/ 0 w 831715"/>
                  <a:gd name="connsiteY0" fmla="*/ 144420 h 475161"/>
                  <a:gd name="connsiteX1" fmla="*/ 411830 w 831715"/>
                  <a:gd name="connsiteY1" fmla="*/ 475161 h 475161"/>
                  <a:gd name="connsiteX2" fmla="*/ 831715 w 831715"/>
                  <a:gd name="connsiteY2" fmla="*/ 149284 h 475161"/>
                  <a:gd name="connsiteX3" fmla="*/ 667106 w 831715"/>
                  <a:gd name="connsiteY3" fmla="*/ 0 h 475161"/>
                  <a:gd name="connsiteX4" fmla="*/ 4331 w 831715"/>
                  <a:gd name="connsiteY4" fmla="*/ 8665 h 475161"/>
                  <a:gd name="connsiteX5" fmla="*/ 0 w 831715"/>
                  <a:gd name="connsiteY5" fmla="*/ 144420 h 475161"/>
                  <a:gd name="connsiteX0" fmla="*/ 0 w 831715"/>
                  <a:gd name="connsiteY0" fmla="*/ 140087 h 470828"/>
                  <a:gd name="connsiteX1" fmla="*/ 411830 w 831715"/>
                  <a:gd name="connsiteY1" fmla="*/ 470828 h 470828"/>
                  <a:gd name="connsiteX2" fmla="*/ 831715 w 831715"/>
                  <a:gd name="connsiteY2" fmla="*/ 144951 h 470828"/>
                  <a:gd name="connsiteX3" fmla="*/ 831715 w 831715"/>
                  <a:gd name="connsiteY3" fmla="*/ 0 h 470828"/>
                  <a:gd name="connsiteX4" fmla="*/ 4331 w 831715"/>
                  <a:gd name="connsiteY4" fmla="*/ 4332 h 470828"/>
                  <a:gd name="connsiteX5" fmla="*/ 0 w 831715"/>
                  <a:gd name="connsiteY5" fmla="*/ 140087 h 470828"/>
                  <a:gd name="connsiteX0" fmla="*/ 0 w 831715"/>
                  <a:gd name="connsiteY0" fmla="*/ 135755 h 466496"/>
                  <a:gd name="connsiteX1" fmla="*/ 411830 w 831715"/>
                  <a:gd name="connsiteY1" fmla="*/ 466496 h 466496"/>
                  <a:gd name="connsiteX2" fmla="*/ 831715 w 831715"/>
                  <a:gd name="connsiteY2" fmla="*/ 140619 h 466496"/>
                  <a:gd name="connsiteX3" fmla="*/ 728459 w 831715"/>
                  <a:gd name="connsiteY3" fmla="*/ 55708 h 466496"/>
                  <a:gd name="connsiteX4" fmla="*/ 4331 w 831715"/>
                  <a:gd name="connsiteY4" fmla="*/ 0 h 466496"/>
                  <a:gd name="connsiteX5" fmla="*/ 0 w 831715"/>
                  <a:gd name="connsiteY5" fmla="*/ 135755 h 466496"/>
                  <a:gd name="connsiteX0" fmla="*/ 0 w 831715"/>
                  <a:gd name="connsiteY0" fmla="*/ 82129 h 412870"/>
                  <a:gd name="connsiteX1" fmla="*/ 411830 w 831715"/>
                  <a:gd name="connsiteY1" fmla="*/ 412870 h 412870"/>
                  <a:gd name="connsiteX2" fmla="*/ 831715 w 831715"/>
                  <a:gd name="connsiteY2" fmla="*/ 86993 h 412870"/>
                  <a:gd name="connsiteX3" fmla="*/ 728459 w 831715"/>
                  <a:gd name="connsiteY3" fmla="*/ 2082 h 412870"/>
                  <a:gd name="connsiteX4" fmla="*/ 4332 w 831715"/>
                  <a:gd name="connsiteY4" fmla="*/ 0 h 412870"/>
                  <a:gd name="connsiteX5" fmla="*/ 0 w 831715"/>
                  <a:gd name="connsiteY5" fmla="*/ 82129 h 412870"/>
                  <a:gd name="connsiteX0" fmla="*/ 0 w 839623"/>
                  <a:gd name="connsiteY0" fmla="*/ 82129 h 412870"/>
                  <a:gd name="connsiteX1" fmla="*/ 411830 w 839623"/>
                  <a:gd name="connsiteY1" fmla="*/ 412870 h 412870"/>
                  <a:gd name="connsiteX2" fmla="*/ 831715 w 839623"/>
                  <a:gd name="connsiteY2" fmla="*/ 86993 h 412870"/>
                  <a:gd name="connsiteX3" fmla="*/ 839623 w 839623"/>
                  <a:gd name="connsiteY3" fmla="*/ 2083 h 412870"/>
                  <a:gd name="connsiteX4" fmla="*/ 4332 w 839623"/>
                  <a:gd name="connsiteY4" fmla="*/ 0 h 412870"/>
                  <a:gd name="connsiteX5" fmla="*/ 0 w 839623"/>
                  <a:gd name="connsiteY5" fmla="*/ 82129 h 412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39623" h="412870">
                    <a:moveTo>
                      <a:pt x="0" y="82129"/>
                    </a:moveTo>
                    <a:cubicBezTo>
                      <a:pt x="145105" y="80660"/>
                      <a:pt x="310905" y="152503"/>
                      <a:pt x="411830" y="412870"/>
                    </a:cubicBezTo>
                    <a:cubicBezTo>
                      <a:pt x="496288" y="146322"/>
                      <a:pt x="642482" y="86841"/>
                      <a:pt x="831715" y="86993"/>
                    </a:cubicBezTo>
                    <a:lnTo>
                      <a:pt x="839623" y="2083"/>
                    </a:lnTo>
                    <a:lnTo>
                      <a:pt x="4332" y="0"/>
                    </a:lnTo>
                    <a:lnTo>
                      <a:pt x="0" y="8212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44" name="Group 34"/>
            <p:cNvGrpSpPr/>
            <p:nvPr userDrawn="1"/>
          </p:nvGrpSpPr>
          <p:grpSpPr>
            <a:xfrm>
              <a:off x="140852" y="923636"/>
              <a:ext cx="2187677" cy="322918"/>
              <a:chOff x="-2" y="771525"/>
              <a:chExt cx="3076802" cy="454160"/>
            </a:xfrm>
          </p:grpSpPr>
          <p:sp>
            <p:nvSpPr>
              <p:cNvPr id="45" name="Flowchart: Process 44"/>
              <p:cNvSpPr/>
              <p:nvPr/>
            </p:nvSpPr>
            <p:spPr>
              <a:xfrm>
                <a:off x="-2" y="771525"/>
                <a:ext cx="3076802" cy="454160"/>
              </a:xfrm>
              <a:prstGeom prst="flowChartProcess">
                <a:avLst/>
              </a:prstGeom>
              <a:solidFill>
                <a:srgbClr val="585874"/>
              </a:solidFill>
              <a:ln>
                <a:noFill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2600" b="1" dirty="0">
                  <a:solidFill>
                    <a:schemeClr val="dk1"/>
                  </a:solidFill>
                  <a:latin typeface="Trebuchet MS" pitchFamily="34" charset="0"/>
                </a:endParaRPr>
              </a:p>
            </p:txBody>
          </p:sp>
          <p:grpSp>
            <p:nvGrpSpPr>
              <p:cNvPr id="49" name="Group 36"/>
              <p:cNvGrpSpPr/>
              <p:nvPr/>
            </p:nvGrpSpPr>
            <p:grpSpPr>
              <a:xfrm>
                <a:off x="188844" y="890429"/>
                <a:ext cx="273844" cy="216511"/>
                <a:chOff x="377952" y="1463835"/>
                <a:chExt cx="273844" cy="216511"/>
              </a:xfrm>
            </p:grpSpPr>
            <p:sp>
              <p:nvSpPr>
                <p:cNvPr id="50" name="Rectangle 49"/>
                <p:cNvSpPr/>
                <p:nvPr/>
              </p:nvSpPr>
              <p:spPr>
                <a:xfrm>
                  <a:off x="377952" y="1463835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5" name="Rectangle 54"/>
                <p:cNvSpPr/>
                <p:nvPr/>
              </p:nvSpPr>
              <p:spPr>
                <a:xfrm>
                  <a:off x="377952" y="1549231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6" name="Rectangle 55"/>
                <p:cNvSpPr/>
                <p:nvPr/>
              </p:nvSpPr>
              <p:spPr>
                <a:xfrm>
                  <a:off x="377952" y="1634627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 &amp; w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le 1"/>
          <p:cNvSpPr>
            <a:spLocks noGrp="1"/>
          </p:cNvSpPr>
          <p:nvPr>
            <p:ph type="ctrTitle"/>
          </p:nvPr>
        </p:nvSpPr>
        <p:spPr>
          <a:xfrm>
            <a:off x="193962" y="925392"/>
            <a:ext cx="2073751" cy="457200"/>
          </a:xfrm>
          <a:prstGeom prst="rect">
            <a:avLst/>
          </a:prstGeom>
          <a:noFill/>
        </p:spPr>
        <p:txBody>
          <a:bodyPr anchor="t">
            <a:noAutofit/>
          </a:bodyPr>
          <a:lstStyle>
            <a:lvl1pPr marL="19050" indent="0" algn="l" defTabSz="914400" rtl="0" eaLnBrk="1" latinLnBrk="0" hangingPunct="1">
              <a:spcBef>
                <a:spcPct val="0"/>
              </a:spcBef>
              <a:buNone/>
              <a:defRPr lang="en-US" sz="1100" kern="1200" dirty="0">
                <a:solidFill>
                  <a:srgbClr val="242748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3" name="Subtitle 2"/>
          <p:cNvSpPr>
            <a:spLocks noGrp="1"/>
          </p:cNvSpPr>
          <p:nvPr>
            <p:ph type="subTitle" idx="1"/>
          </p:nvPr>
        </p:nvSpPr>
        <p:spPr>
          <a:xfrm>
            <a:off x="2871090" y="1343314"/>
            <a:ext cx="5705983" cy="28546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1200">
                <a:solidFill>
                  <a:srgbClr val="242748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35" name="Content Placeholder 34"/>
          <p:cNvSpPr>
            <a:spLocks noGrp="1"/>
          </p:cNvSpPr>
          <p:nvPr>
            <p:ph sz="quarter" idx="21" hasCustomPrompt="1"/>
          </p:nvPr>
        </p:nvSpPr>
        <p:spPr>
          <a:xfrm>
            <a:off x="2880742" y="1695450"/>
            <a:ext cx="5682233" cy="1371600"/>
          </a:xfrm>
          <a:prstGeom prst="rect">
            <a:avLst/>
          </a:prstGeom>
          <a:solidFill>
            <a:srgbClr val="DBE6C4"/>
          </a:solidFill>
        </p:spPr>
        <p:txBody>
          <a:bodyPr anchor="b" anchorCtr="1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2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342900" lvl="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Insert Object</a:t>
            </a:r>
            <a:endParaRPr lang="en-US" dirty="0"/>
          </a:p>
        </p:txBody>
      </p:sp>
      <p:sp>
        <p:nvSpPr>
          <p:cNvPr id="41" name="Content Placeholder 34"/>
          <p:cNvSpPr>
            <a:spLocks noGrp="1"/>
          </p:cNvSpPr>
          <p:nvPr>
            <p:ph sz="quarter" idx="22" hasCustomPrompt="1"/>
          </p:nvPr>
        </p:nvSpPr>
        <p:spPr>
          <a:xfrm>
            <a:off x="304801" y="1419227"/>
            <a:ext cx="1866900" cy="714374"/>
          </a:xfrm>
          <a:prstGeom prst="rect">
            <a:avLst/>
          </a:prstGeom>
          <a:solidFill>
            <a:srgbClr val="DBE6C4"/>
          </a:solidFill>
        </p:spPr>
        <p:txBody>
          <a:bodyPr anchor="b" anchorCtr="1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2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342900" lvl="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Insert Object</a:t>
            </a:r>
            <a:endParaRPr lang="en-US" dirty="0"/>
          </a:p>
        </p:txBody>
      </p:sp>
      <p:sp>
        <p:nvSpPr>
          <p:cNvPr id="27" name="Text Placeholder 45"/>
          <p:cNvSpPr>
            <a:spLocks noGrp="1"/>
          </p:cNvSpPr>
          <p:nvPr>
            <p:ph type="body" sz="quarter" idx="17" hasCustomPrompt="1"/>
          </p:nvPr>
        </p:nvSpPr>
        <p:spPr>
          <a:xfrm>
            <a:off x="301752" y="2171700"/>
            <a:ext cx="1865376" cy="990600"/>
          </a:xfrm>
          <a:prstGeom prst="rect">
            <a:avLst/>
          </a:prstGeom>
        </p:spPr>
        <p:txBody>
          <a:bodyPr/>
          <a:lstStyle>
            <a:lvl1pPr marL="119063" indent="-119063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0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28600" indent="-109538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9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3429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900" kern="12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H2</a:t>
            </a:r>
          </a:p>
          <a:p>
            <a:pPr lvl="1"/>
            <a:r>
              <a:rPr lang="en-US" dirty="0" smtClean="0"/>
              <a:t>Paragraph text</a:t>
            </a:r>
          </a:p>
          <a:p>
            <a:pPr lvl="2"/>
            <a:r>
              <a:rPr lang="en-US" dirty="0" smtClean="0"/>
              <a:t>Bullet text</a:t>
            </a:r>
            <a:endParaRPr lang="en-US" dirty="0"/>
          </a:p>
        </p:txBody>
      </p:sp>
      <p:sp>
        <p:nvSpPr>
          <p:cNvPr id="34" name="Text Placeholder 45"/>
          <p:cNvSpPr>
            <a:spLocks noGrp="1"/>
          </p:cNvSpPr>
          <p:nvPr>
            <p:ph type="body" sz="quarter" idx="26" hasCustomPrompt="1"/>
          </p:nvPr>
        </p:nvSpPr>
        <p:spPr>
          <a:xfrm>
            <a:off x="301752" y="3200400"/>
            <a:ext cx="1865376" cy="990600"/>
          </a:xfrm>
          <a:prstGeom prst="rect">
            <a:avLst/>
          </a:prstGeom>
        </p:spPr>
        <p:txBody>
          <a:bodyPr/>
          <a:lstStyle>
            <a:lvl1pPr marL="119063" indent="-119063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10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28600" indent="-109538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900" kern="1200" dirty="0" smtClean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3429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defRPr lang="en-US" sz="900" kern="1200" dirty="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H2</a:t>
            </a:r>
          </a:p>
          <a:p>
            <a:pPr lvl="1"/>
            <a:r>
              <a:rPr lang="en-US" dirty="0" smtClean="0"/>
              <a:t>Paragraph text</a:t>
            </a:r>
          </a:p>
          <a:p>
            <a:pPr lvl="2"/>
            <a:r>
              <a:rPr lang="en-US" dirty="0" smtClean="0"/>
              <a:t>Bullet text</a:t>
            </a:r>
            <a:endParaRPr lang="en-US" dirty="0"/>
          </a:p>
        </p:txBody>
      </p:sp>
      <p:sp>
        <p:nvSpPr>
          <p:cNvPr id="37" name="Text Placeholder 45"/>
          <p:cNvSpPr>
            <a:spLocks noGrp="1"/>
          </p:cNvSpPr>
          <p:nvPr>
            <p:ph type="body" sz="quarter" idx="27" hasCustomPrompt="1"/>
          </p:nvPr>
        </p:nvSpPr>
        <p:spPr>
          <a:xfrm>
            <a:off x="2871216" y="3095625"/>
            <a:ext cx="2815209" cy="1152144"/>
          </a:xfrm>
          <a:prstGeom prst="rect">
            <a:avLst/>
          </a:prstGeom>
        </p:spPr>
        <p:txBody>
          <a:bodyPr/>
          <a:lstStyle>
            <a:lvl1pPr marL="119063" indent="-119063">
              <a:defRPr sz="1100"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28600" indent="-109538">
              <a:defRPr sz="1000" baseline="0"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342900" indent="-114300">
              <a:defRPr sz="1000"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H2</a:t>
            </a:r>
          </a:p>
          <a:p>
            <a:pPr lvl="1"/>
            <a:r>
              <a:rPr lang="en-US" dirty="0" smtClean="0"/>
              <a:t>Paragraph text</a:t>
            </a:r>
          </a:p>
          <a:p>
            <a:pPr lvl="2"/>
            <a:r>
              <a:rPr lang="en-US" dirty="0" smtClean="0"/>
              <a:t>Bullet  text</a:t>
            </a:r>
            <a:endParaRPr lang="en-US" dirty="0"/>
          </a:p>
        </p:txBody>
      </p:sp>
      <p:sp>
        <p:nvSpPr>
          <p:cNvPr id="44" name="Text Placeholder 45"/>
          <p:cNvSpPr>
            <a:spLocks noGrp="1"/>
          </p:cNvSpPr>
          <p:nvPr>
            <p:ph type="body" sz="quarter" idx="28" hasCustomPrompt="1"/>
          </p:nvPr>
        </p:nvSpPr>
        <p:spPr>
          <a:xfrm>
            <a:off x="5747766" y="3095625"/>
            <a:ext cx="2815209" cy="1152144"/>
          </a:xfrm>
          <a:prstGeom prst="rect">
            <a:avLst/>
          </a:prstGeom>
        </p:spPr>
        <p:txBody>
          <a:bodyPr/>
          <a:lstStyle>
            <a:lvl1pPr marL="119063" indent="-119063">
              <a:defRPr sz="1100"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228600" indent="-109538">
              <a:defRPr sz="1000" baseline="0"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 marL="342900" indent="-114300">
              <a:defRPr sz="1000"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</a:lstStyle>
          <a:p>
            <a:pPr lvl="0"/>
            <a:r>
              <a:rPr lang="en-US" dirty="0" smtClean="0"/>
              <a:t>H2</a:t>
            </a:r>
          </a:p>
          <a:p>
            <a:pPr lvl="1"/>
            <a:r>
              <a:rPr lang="en-US" dirty="0" smtClean="0"/>
              <a:t>Paragraph text</a:t>
            </a:r>
          </a:p>
          <a:p>
            <a:pPr lvl="2"/>
            <a:r>
              <a:rPr lang="en-US" dirty="0" smtClean="0"/>
              <a:t>Bullet  text</a:t>
            </a:r>
            <a:endParaRPr lang="en-US" dirty="0"/>
          </a:p>
        </p:txBody>
      </p:sp>
      <p:grpSp>
        <p:nvGrpSpPr>
          <p:cNvPr id="46" name="Group 72"/>
          <p:cNvGrpSpPr/>
          <p:nvPr userDrawn="1"/>
        </p:nvGrpSpPr>
        <p:grpSpPr>
          <a:xfrm>
            <a:off x="140852" y="554828"/>
            <a:ext cx="8826701" cy="724418"/>
            <a:chOff x="140852" y="923636"/>
            <a:chExt cx="8826701" cy="724418"/>
          </a:xfrm>
        </p:grpSpPr>
        <p:grpSp>
          <p:nvGrpSpPr>
            <p:cNvPr id="47" name="Group 12"/>
            <p:cNvGrpSpPr/>
            <p:nvPr/>
          </p:nvGrpSpPr>
          <p:grpSpPr>
            <a:xfrm>
              <a:off x="2459187" y="1282395"/>
              <a:ext cx="6508366" cy="365659"/>
              <a:chOff x="-1" y="711412"/>
              <a:chExt cx="9153525" cy="514273"/>
            </a:xfrm>
          </p:grpSpPr>
          <p:sp>
            <p:nvSpPr>
              <p:cNvPr id="57" name="Flowchart: Process 56"/>
              <p:cNvSpPr/>
              <p:nvPr/>
            </p:nvSpPr>
            <p:spPr>
              <a:xfrm>
                <a:off x="-1" y="771525"/>
                <a:ext cx="9153525" cy="454160"/>
              </a:xfrm>
              <a:prstGeom prst="flowChartProcess">
                <a:avLst/>
              </a:prstGeom>
              <a:solidFill>
                <a:srgbClr val="585874"/>
              </a:solidFill>
              <a:ln>
                <a:noFill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algn="ctr" defTabSz="914400" rtl="0" eaLnBrk="1" latinLnBrk="0" hangingPunct="1"/>
                <a:endParaRPr lang="en-US" sz="2600" b="1" kern="1200" dirty="0">
                  <a:solidFill>
                    <a:schemeClr val="dk1"/>
                  </a:solidFill>
                  <a:latin typeface="Trebuchet MS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58" name="Group 19"/>
              <p:cNvGrpSpPr/>
              <p:nvPr/>
            </p:nvGrpSpPr>
            <p:grpSpPr>
              <a:xfrm>
                <a:off x="188844" y="890429"/>
                <a:ext cx="273844" cy="216511"/>
                <a:chOff x="377952" y="1463835"/>
                <a:chExt cx="273844" cy="216511"/>
              </a:xfrm>
            </p:grpSpPr>
            <p:sp>
              <p:nvSpPr>
                <p:cNvPr id="60" name="Rectangle 59"/>
                <p:cNvSpPr/>
                <p:nvPr/>
              </p:nvSpPr>
              <p:spPr>
                <a:xfrm>
                  <a:off x="377952" y="1463835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1" name="Rectangle 60"/>
                <p:cNvSpPr/>
                <p:nvPr/>
              </p:nvSpPr>
              <p:spPr>
                <a:xfrm>
                  <a:off x="377952" y="1549231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2" name="Rectangle 61"/>
                <p:cNvSpPr/>
                <p:nvPr/>
              </p:nvSpPr>
              <p:spPr>
                <a:xfrm>
                  <a:off x="377952" y="1634627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59" name="Freeform 58"/>
              <p:cNvSpPr/>
              <p:nvPr/>
            </p:nvSpPr>
            <p:spPr>
              <a:xfrm>
                <a:off x="534850" y="711412"/>
                <a:ext cx="461548" cy="226958"/>
              </a:xfrm>
              <a:custGeom>
                <a:avLst/>
                <a:gdLst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831715"/>
                  <a:gd name="connsiteY0" fmla="*/ 0 h 330741"/>
                  <a:gd name="connsiteX1" fmla="*/ 398834 w 831715"/>
                  <a:gd name="connsiteY1" fmla="*/ 330741 h 330741"/>
                  <a:gd name="connsiteX2" fmla="*/ 831715 w 831715"/>
                  <a:gd name="connsiteY2" fmla="*/ 4864 h 330741"/>
                  <a:gd name="connsiteX3" fmla="*/ 0 w 831715"/>
                  <a:gd name="connsiteY3" fmla="*/ 0 h 330741"/>
                  <a:gd name="connsiteX0" fmla="*/ 0 w 831715"/>
                  <a:gd name="connsiteY0" fmla="*/ 1469 h 332210"/>
                  <a:gd name="connsiteX1" fmla="*/ 398834 w 831715"/>
                  <a:gd name="connsiteY1" fmla="*/ 332210 h 332210"/>
                  <a:gd name="connsiteX2" fmla="*/ 831715 w 831715"/>
                  <a:gd name="connsiteY2" fmla="*/ 6333 h 332210"/>
                  <a:gd name="connsiteX3" fmla="*/ 0 w 831715"/>
                  <a:gd name="connsiteY3" fmla="*/ 1469 h 332210"/>
                  <a:gd name="connsiteX0" fmla="*/ 0 w 831715"/>
                  <a:gd name="connsiteY0" fmla="*/ 1469 h 332210"/>
                  <a:gd name="connsiteX1" fmla="*/ 411830 w 831715"/>
                  <a:gd name="connsiteY1" fmla="*/ 332210 h 332210"/>
                  <a:gd name="connsiteX2" fmla="*/ 831715 w 831715"/>
                  <a:gd name="connsiteY2" fmla="*/ 6333 h 332210"/>
                  <a:gd name="connsiteX3" fmla="*/ 0 w 831715"/>
                  <a:gd name="connsiteY3" fmla="*/ 1469 h 332210"/>
                  <a:gd name="connsiteX0" fmla="*/ 0 w 831715"/>
                  <a:gd name="connsiteY0" fmla="*/ 144420 h 475161"/>
                  <a:gd name="connsiteX1" fmla="*/ 411830 w 831715"/>
                  <a:gd name="connsiteY1" fmla="*/ 475161 h 475161"/>
                  <a:gd name="connsiteX2" fmla="*/ 831715 w 831715"/>
                  <a:gd name="connsiteY2" fmla="*/ 149284 h 475161"/>
                  <a:gd name="connsiteX3" fmla="*/ 667106 w 831715"/>
                  <a:gd name="connsiteY3" fmla="*/ 0 h 475161"/>
                  <a:gd name="connsiteX4" fmla="*/ 0 w 831715"/>
                  <a:gd name="connsiteY4" fmla="*/ 144420 h 475161"/>
                  <a:gd name="connsiteX0" fmla="*/ 0 w 831715"/>
                  <a:gd name="connsiteY0" fmla="*/ 144420 h 475161"/>
                  <a:gd name="connsiteX1" fmla="*/ 411830 w 831715"/>
                  <a:gd name="connsiteY1" fmla="*/ 475161 h 475161"/>
                  <a:gd name="connsiteX2" fmla="*/ 831715 w 831715"/>
                  <a:gd name="connsiteY2" fmla="*/ 149284 h 475161"/>
                  <a:gd name="connsiteX3" fmla="*/ 667106 w 831715"/>
                  <a:gd name="connsiteY3" fmla="*/ 0 h 475161"/>
                  <a:gd name="connsiteX4" fmla="*/ 4331 w 831715"/>
                  <a:gd name="connsiteY4" fmla="*/ 8665 h 475161"/>
                  <a:gd name="connsiteX5" fmla="*/ 0 w 831715"/>
                  <a:gd name="connsiteY5" fmla="*/ 144420 h 475161"/>
                  <a:gd name="connsiteX0" fmla="*/ 0 w 831715"/>
                  <a:gd name="connsiteY0" fmla="*/ 140087 h 470828"/>
                  <a:gd name="connsiteX1" fmla="*/ 411830 w 831715"/>
                  <a:gd name="connsiteY1" fmla="*/ 470828 h 470828"/>
                  <a:gd name="connsiteX2" fmla="*/ 831715 w 831715"/>
                  <a:gd name="connsiteY2" fmla="*/ 144951 h 470828"/>
                  <a:gd name="connsiteX3" fmla="*/ 831715 w 831715"/>
                  <a:gd name="connsiteY3" fmla="*/ 0 h 470828"/>
                  <a:gd name="connsiteX4" fmla="*/ 4331 w 831715"/>
                  <a:gd name="connsiteY4" fmla="*/ 4332 h 470828"/>
                  <a:gd name="connsiteX5" fmla="*/ 0 w 831715"/>
                  <a:gd name="connsiteY5" fmla="*/ 140087 h 470828"/>
                  <a:gd name="connsiteX0" fmla="*/ 0 w 831715"/>
                  <a:gd name="connsiteY0" fmla="*/ 135755 h 466496"/>
                  <a:gd name="connsiteX1" fmla="*/ 411830 w 831715"/>
                  <a:gd name="connsiteY1" fmla="*/ 466496 h 466496"/>
                  <a:gd name="connsiteX2" fmla="*/ 831715 w 831715"/>
                  <a:gd name="connsiteY2" fmla="*/ 140619 h 466496"/>
                  <a:gd name="connsiteX3" fmla="*/ 728459 w 831715"/>
                  <a:gd name="connsiteY3" fmla="*/ 55708 h 466496"/>
                  <a:gd name="connsiteX4" fmla="*/ 4331 w 831715"/>
                  <a:gd name="connsiteY4" fmla="*/ 0 h 466496"/>
                  <a:gd name="connsiteX5" fmla="*/ 0 w 831715"/>
                  <a:gd name="connsiteY5" fmla="*/ 135755 h 466496"/>
                  <a:gd name="connsiteX0" fmla="*/ 0 w 831715"/>
                  <a:gd name="connsiteY0" fmla="*/ 82129 h 412870"/>
                  <a:gd name="connsiteX1" fmla="*/ 411830 w 831715"/>
                  <a:gd name="connsiteY1" fmla="*/ 412870 h 412870"/>
                  <a:gd name="connsiteX2" fmla="*/ 831715 w 831715"/>
                  <a:gd name="connsiteY2" fmla="*/ 86993 h 412870"/>
                  <a:gd name="connsiteX3" fmla="*/ 728459 w 831715"/>
                  <a:gd name="connsiteY3" fmla="*/ 2082 h 412870"/>
                  <a:gd name="connsiteX4" fmla="*/ 4332 w 831715"/>
                  <a:gd name="connsiteY4" fmla="*/ 0 h 412870"/>
                  <a:gd name="connsiteX5" fmla="*/ 0 w 831715"/>
                  <a:gd name="connsiteY5" fmla="*/ 82129 h 412870"/>
                  <a:gd name="connsiteX0" fmla="*/ 0 w 839623"/>
                  <a:gd name="connsiteY0" fmla="*/ 82129 h 412870"/>
                  <a:gd name="connsiteX1" fmla="*/ 411830 w 839623"/>
                  <a:gd name="connsiteY1" fmla="*/ 412870 h 412870"/>
                  <a:gd name="connsiteX2" fmla="*/ 831715 w 839623"/>
                  <a:gd name="connsiteY2" fmla="*/ 86993 h 412870"/>
                  <a:gd name="connsiteX3" fmla="*/ 839623 w 839623"/>
                  <a:gd name="connsiteY3" fmla="*/ 2083 h 412870"/>
                  <a:gd name="connsiteX4" fmla="*/ 4332 w 839623"/>
                  <a:gd name="connsiteY4" fmla="*/ 0 h 412870"/>
                  <a:gd name="connsiteX5" fmla="*/ 0 w 839623"/>
                  <a:gd name="connsiteY5" fmla="*/ 82129 h 412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39623" h="412870">
                    <a:moveTo>
                      <a:pt x="0" y="82129"/>
                    </a:moveTo>
                    <a:cubicBezTo>
                      <a:pt x="145105" y="80660"/>
                      <a:pt x="310905" y="152503"/>
                      <a:pt x="411830" y="412870"/>
                    </a:cubicBezTo>
                    <a:cubicBezTo>
                      <a:pt x="496288" y="146322"/>
                      <a:pt x="642482" y="86841"/>
                      <a:pt x="831715" y="86993"/>
                    </a:cubicBezTo>
                    <a:lnTo>
                      <a:pt x="839623" y="2083"/>
                    </a:lnTo>
                    <a:lnTo>
                      <a:pt x="4332" y="0"/>
                    </a:lnTo>
                    <a:lnTo>
                      <a:pt x="0" y="8212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49" name="Group 34"/>
            <p:cNvGrpSpPr/>
            <p:nvPr userDrawn="1"/>
          </p:nvGrpSpPr>
          <p:grpSpPr>
            <a:xfrm>
              <a:off x="140852" y="923636"/>
              <a:ext cx="2187677" cy="322918"/>
              <a:chOff x="-2" y="771525"/>
              <a:chExt cx="3076802" cy="454160"/>
            </a:xfrm>
          </p:grpSpPr>
          <p:sp>
            <p:nvSpPr>
              <p:cNvPr id="50" name="Flowchart: Process 49"/>
              <p:cNvSpPr/>
              <p:nvPr/>
            </p:nvSpPr>
            <p:spPr>
              <a:xfrm>
                <a:off x="-2" y="771525"/>
                <a:ext cx="3076802" cy="454160"/>
              </a:xfrm>
              <a:prstGeom prst="flowChartProcess">
                <a:avLst/>
              </a:prstGeom>
              <a:solidFill>
                <a:srgbClr val="585874"/>
              </a:solidFill>
              <a:ln>
                <a:noFill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2600" b="1" dirty="0">
                  <a:solidFill>
                    <a:schemeClr val="dk1"/>
                  </a:solidFill>
                  <a:latin typeface="Trebuchet MS" pitchFamily="34" charset="0"/>
                </a:endParaRPr>
              </a:p>
            </p:txBody>
          </p:sp>
          <p:grpSp>
            <p:nvGrpSpPr>
              <p:cNvPr id="53" name="Group 36"/>
              <p:cNvGrpSpPr/>
              <p:nvPr/>
            </p:nvGrpSpPr>
            <p:grpSpPr>
              <a:xfrm>
                <a:off x="188844" y="890429"/>
                <a:ext cx="273844" cy="216511"/>
                <a:chOff x="377952" y="1463835"/>
                <a:chExt cx="273844" cy="216511"/>
              </a:xfrm>
            </p:grpSpPr>
            <p:sp>
              <p:nvSpPr>
                <p:cNvPr id="54" name="Rectangle 53"/>
                <p:cNvSpPr/>
                <p:nvPr/>
              </p:nvSpPr>
              <p:spPr>
                <a:xfrm>
                  <a:off x="377952" y="1463835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5" name="Rectangle 54"/>
                <p:cNvSpPr/>
                <p:nvPr/>
              </p:nvSpPr>
              <p:spPr>
                <a:xfrm>
                  <a:off x="377952" y="1549231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6" name="Rectangle 55"/>
                <p:cNvSpPr/>
                <p:nvPr/>
              </p:nvSpPr>
              <p:spPr>
                <a:xfrm>
                  <a:off x="377952" y="1634627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 &amp; w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le 1"/>
          <p:cNvSpPr>
            <a:spLocks noGrp="1"/>
          </p:cNvSpPr>
          <p:nvPr>
            <p:ph type="ctrTitle"/>
          </p:nvPr>
        </p:nvSpPr>
        <p:spPr>
          <a:xfrm>
            <a:off x="193962" y="925392"/>
            <a:ext cx="2073751" cy="457200"/>
          </a:xfrm>
          <a:prstGeom prst="rect">
            <a:avLst/>
          </a:prstGeom>
          <a:noFill/>
        </p:spPr>
        <p:txBody>
          <a:bodyPr anchor="t">
            <a:noAutofit/>
          </a:bodyPr>
          <a:lstStyle>
            <a:lvl1pPr marL="19050" indent="0" algn="l" defTabSz="914400" rtl="0" eaLnBrk="1" latinLnBrk="0" hangingPunct="1">
              <a:spcBef>
                <a:spcPct val="0"/>
              </a:spcBef>
              <a:buNone/>
              <a:defRPr lang="en-US" sz="1100" kern="1200" dirty="0">
                <a:solidFill>
                  <a:srgbClr val="242748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3" name="Subtitle 2"/>
          <p:cNvSpPr>
            <a:spLocks noGrp="1"/>
          </p:cNvSpPr>
          <p:nvPr>
            <p:ph type="subTitle" idx="1"/>
          </p:nvPr>
        </p:nvSpPr>
        <p:spPr>
          <a:xfrm>
            <a:off x="2871090" y="1343314"/>
            <a:ext cx="5705983" cy="28546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1200">
                <a:solidFill>
                  <a:srgbClr val="242748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35" name="Content Placeholder 34"/>
          <p:cNvSpPr>
            <a:spLocks noGrp="1"/>
          </p:cNvSpPr>
          <p:nvPr>
            <p:ph sz="quarter" idx="21" hasCustomPrompt="1"/>
          </p:nvPr>
        </p:nvSpPr>
        <p:spPr>
          <a:xfrm>
            <a:off x="2880742" y="1695450"/>
            <a:ext cx="5682233" cy="1371600"/>
          </a:xfrm>
          <a:prstGeom prst="rect">
            <a:avLst/>
          </a:prstGeom>
          <a:solidFill>
            <a:srgbClr val="DBE6C4"/>
          </a:solidFill>
        </p:spPr>
        <p:txBody>
          <a:bodyPr anchor="b" anchorCtr="1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2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342900" lvl="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Insert Object</a:t>
            </a:r>
            <a:endParaRPr lang="en-US" dirty="0"/>
          </a:p>
        </p:txBody>
      </p:sp>
      <p:sp>
        <p:nvSpPr>
          <p:cNvPr id="41" name="Content Placeholder 34"/>
          <p:cNvSpPr>
            <a:spLocks noGrp="1"/>
          </p:cNvSpPr>
          <p:nvPr>
            <p:ph sz="quarter" idx="22" hasCustomPrompt="1"/>
          </p:nvPr>
        </p:nvSpPr>
        <p:spPr>
          <a:xfrm>
            <a:off x="304801" y="1419227"/>
            <a:ext cx="1866900" cy="714374"/>
          </a:xfrm>
          <a:prstGeom prst="rect">
            <a:avLst/>
          </a:prstGeom>
          <a:solidFill>
            <a:srgbClr val="DBE6C4"/>
          </a:solidFill>
        </p:spPr>
        <p:txBody>
          <a:bodyPr anchor="b" anchorCtr="1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2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342900" lvl="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Insert Object</a:t>
            </a:r>
            <a:endParaRPr lang="en-US" dirty="0"/>
          </a:p>
        </p:txBody>
      </p:sp>
      <p:sp>
        <p:nvSpPr>
          <p:cNvPr id="34" name="Table Placeholder 33"/>
          <p:cNvSpPr>
            <a:spLocks noGrp="1"/>
          </p:cNvSpPr>
          <p:nvPr>
            <p:ph type="tbl" sz="quarter" idx="26"/>
          </p:nvPr>
        </p:nvSpPr>
        <p:spPr>
          <a:xfrm>
            <a:off x="2876551" y="3095623"/>
            <a:ext cx="2819400" cy="1133475"/>
          </a:xfrm>
          <a:prstGeom prst="rect">
            <a:avLst/>
          </a:prstGeom>
        </p:spPr>
        <p:txBody>
          <a:bodyPr anchor="b" anchorCtr="1"/>
          <a:lstStyle>
            <a:lvl1pPr marL="1143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2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37" name="Table Placeholder 33"/>
          <p:cNvSpPr>
            <a:spLocks noGrp="1"/>
          </p:cNvSpPr>
          <p:nvPr>
            <p:ph type="tbl" sz="quarter" idx="27"/>
          </p:nvPr>
        </p:nvSpPr>
        <p:spPr>
          <a:xfrm>
            <a:off x="5743575" y="3095623"/>
            <a:ext cx="2819400" cy="1133475"/>
          </a:xfrm>
          <a:prstGeom prst="rect">
            <a:avLst/>
          </a:prstGeom>
        </p:spPr>
        <p:txBody>
          <a:bodyPr anchor="b" anchorCtr="1"/>
          <a:lstStyle>
            <a:lvl1pPr marL="1143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2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44" name="Table Placeholder 33"/>
          <p:cNvSpPr>
            <a:spLocks noGrp="1"/>
          </p:cNvSpPr>
          <p:nvPr>
            <p:ph type="tbl" sz="quarter" idx="28"/>
          </p:nvPr>
        </p:nvSpPr>
        <p:spPr>
          <a:xfrm>
            <a:off x="304802" y="2162174"/>
            <a:ext cx="1866900" cy="2105026"/>
          </a:xfrm>
          <a:prstGeom prst="rect">
            <a:avLst/>
          </a:prstGeom>
        </p:spPr>
        <p:txBody>
          <a:bodyPr anchor="b" anchorCtr="1"/>
          <a:lstStyle>
            <a:lvl1pPr marL="1143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2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46" name="Table Placeholder 33"/>
          <p:cNvSpPr>
            <a:spLocks noGrp="1"/>
          </p:cNvSpPr>
          <p:nvPr>
            <p:ph type="tbl" sz="quarter" idx="29"/>
          </p:nvPr>
        </p:nvSpPr>
        <p:spPr>
          <a:xfrm>
            <a:off x="2876550" y="4352924"/>
            <a:ext cx="5695949" cy="1133475"/>
          </a:xfrm>
          <a:prstGeom prst="rect">
            <a:avLst/>
          </a:prstGeom>
        </p:spPr>
        <p:txBody>
          <a:bodyPr anchor="b" anchorCtr="1"/>
          <a:lstStyle>
            <a:lvl1pPr marL="1143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2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47" name="Table Placeholder 33"/>
          <p:cNvSpPr>
            <a:spLocks noGrp="1"/>
          </p:cNvSpPr>
          <p:nvPr>
            <p:ph type="tbl" sz="quarter" idx="30"/>
          </p:nvPr>
        </p:nvSpPr>
        <p:spPr>
          <a:xfrm>
            <a:off x="304802" y="4371973"/>
            <a:ext cx="1866900" cy="2105026"/>
          </a:xfrm>
          <a:prstGeom prst="rect">
            <a:avLst/>
          </a:prstGeom>
        </p:spPr>
        <p:txBody>
          <a:bodyPr anchor="b" anchorCtr="1"/>
          <a:lstStyle>
            <a:lvl1pPr marL="114300" indent="-1143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2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grpSp>
        <p:nvGrpSpPr>
          <p:cNvPr id="27" name="Group 72"/>
          <p:cNvGrpSpPr/>
          <p:nvPr userDrawn="1"/>
        </p:nvGrpSpPr>
        <p:grpSpPr>
          <a:xfrm>
            <a:off x="140852" y="554828"/>
            <a:ext cx="8826701" cy="724418"/>
            <a:chOff x="140852" y="923636"/>
            <a:chExt cx="8826701" cy="724418"/>
          </a:xfrm>
        </p:grpSpPr>
        <p:grpSp>
          <p:nvGrpSpPr>
            <p:cNvPr id="42" name="Group 12"/>
            <p:cNvGrpSpPr/>
            <p:nvPr/>
          </p:nvGrpSpPr>
          <p:grpSpPr>
            <a:xfrm>
              <a:off x="2459187" y="1282395"/>
              <a:ext cx="6508366" cy="365659"/>
              <a:chOff x="-1" y="711412"/>
              <a:chExt cx="9153525" cy="514273"/>
            </a:xfrm>
          </p:grpSpPr>
          <p:sp>
            <p:nvSpPr>
              <p:cNvPr id="54" name="Flowchart: Process 53"/>
              <p:cNvSpPr/>
              <p:nvPr/>
            </p:nvSpPr>
            <p:spPr>
              <a:xfrm>
                <a:off x="-1" y="771525"/>
                <a:ext cx="9153525" cy="454160"/>
              </a:xfrm>
              <a:prstGeom prst="flowChartProcess">
                <a:avLst/>
              </a:prstGeom>
              <a:solidFill>
                <a:srgbClr val="585874"/>
              </a:solidFill>
              <a:ln>
                <a:noFill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algn="ctr" defTabSz="914400" rtl="0" eaLnBrk="1" latinLnBrk="0" hangingPunct="1"/>
                <a:endParaRPr lang="en-US" sz="2600" b="1" kern="1200" dirty="0">
                  <a:solidFill>
                    <a:schemeClr val="dk1"/>
                  </a:solidFill>
                  <a:latin typeface="Trebuchet MS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55" name="Group 19"/>
              <p:cNvGrpSpPr/>
              <p:nvPr/>
            </p:nvGrpSpPr>
            <p:grpSpPr>
              <a:xfrm>
                <a:off x="188844" y="890429"/>
                <a:ext cx="273844" cy="216511"/>
                <a:chOff x="377952" y="1463835"/>
                <a:chExt cx="273844" cy="216511"/>
              </a:xfrm>
            </p:grpSpPr>
            <p:sp>
              <p:nvSpPr>
                <p:cNvPr id="57" name="Rectangle 56"/>
                <p:cNvSpPr/>
                <p:nvPr/>
              </p:nvSpPr>
              <p:spPr>
                <a:xfrm>
                  <a:off x="377952" y="1463835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8" name="Rectangle 57"/>
                <p:cNvSpPr/>
                <p:nvPr/>
              </p:nvSpPr>
              <p:spPr>
                <a:xfrm>
                  <a:off x="377952" y="1549231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9" name="Rectangle 58"/>
                <p:cNvSpPr/>
                <p:nvPr/>
              </p:nvSpPr>
              <p:spPr>
                <a:xfrm>
                  <a:off x="377952" y="1634627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56" name="Freeform 55"/>
              <p:cNvSpPr/>
              <p:nvPr/>
            </p:nvSpPr>
            <p:spPr>
              <a:xfrm>
                <a:off x="534850" y="711412"/>
                <a:ext cx="461548" cy="226958"/>
              </a:xfrm>
              <a:custGeom>
                <a:avLst/>
                <a:gdLst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12970 h 343711"/>
                  <a:gd name="connsiteX1" fmla="*/ 398834 w 787941"/>
                  <a:gd name="connsiteY1" fmla="*/ 343711 h 343711"/>
                  <a:gd name="connsiteX2" fmla="*/ 787941 w 787941"/>
                  <a:gd name="connsiteY2" fmla="*/ 22698 h 343711"/>
                  <a:gd name="connsiteX3" fmla="*/ 0 w 787941"/>
                  <a:gd name="connsiteY3" fmla="*/ 12970 h 343711"/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787941"/>
                  <a:gd name="connsiteY0" fmla="*/ 0 h 330741"/>
                  <a:gd name="connsiteX1" fmla="*/ 398834 w 787941"/>
                  <a:gd name="connsiteY1" fmla="*/ 330741 h 330741"/>
                  <a:gd name="connsiteX2" fmla="*/ 787941 w 787941"/>
                  <a:gd name="connsiteY2" fmla="*/ 9728 h 330741"/>
                  <a:gd name="connsiteX3" fmla="*/ 0 w 787941"/>
                  <a:gd name="connsiteY3" fmla="*/ 0 h 330741"/>
                  <a:gd name="connsiteX0" fmla="*/ 0 w 831715"/>
                  <a:gd name="connsiteY0" fmla="*/ 0 h 330741"/>
                  <a:gd name="connsiteX1" fmla="*/ 398834 w 831715"/>
                  <a:gd name="connsiteY1" fmla="*/ 330741 h 330741"/>
                  <a:gd name="connsiteX2" fmla="*/ 831715 w 831715"/>
                  <a:gd name="connsiteY2" fmla="*/ 4864 h 330741"/>
                  <a:gd name="connsiteX3" fmla="*/ 0 w 831715"/>
                  <a:gd name="connsiteY3" fmla="*/ 0 h 330741"/>
                  <a:gd name="connsiteX0" fmla="*/ 0 w 831715"/>
                  <a:gd name="connsiteY0" fmla="*/ 1469 h 332210"/>
                  <a:gd name="connsiteX1" fmla="*/ 398834 w 831715"/>
                  <a:gd name="connsiteY1" fmla="*/ 332210 h 332210"/>
                  <a:gd name="connsiteX2" fmla="*/ 831715 w 831715"/>
                  <a:gd name="connsiteY2" fmla="*/ 6333 h 332210"/>
                  <a:gd name="connsiteX3" fmla="*/ 0 w 831715"/>
                  <a:gd name="connsiteY3" fmla="*/ 1469 h 332210"/>
                  <a:gd name="connsiteX0" fmla="*/ 0 w 831715"/>
                  <a:gd name="connsiteY0" fmla="*/ 1469 h 332210"/>
                  <a:gd name="connsiteX1" fmla="*/ 411830 w 831715"/>
                  <a:gd name="connsiteY1" fmla="*/ 332210 h 332210"/>
                  <a:gd name="connsiteX2" fmla="*/ 831715 w 831715"/>
                  <a:gd name="connsiteY2" fmla="*/ 6333 h 332210"/>
                  <a:gd name="connsiteX3" fmla="*/ 0 w 831715"/>
                  <a:gd name="connsiteY3" fmla="*/ 1469 h 332210"/>
                  <a:gd name="connsiteX0" fmla="*/ 0 w 831715"/>
                  <a:gd name="connsiteY0" fmla="*/ 144420 h 475161"/>
                  <a:gd name="connsiteX1" fmla="*/ 411830 w 831715"/>
                  <a:gd name="connsiteY1" fmla="*/ 475161 h 475161"/>
                  <a:gd name="connsiteX2" fmla="*/ 831715 w 831715"/>
                  <a:gd name="connsiteY2" fmla="*/ 149284 h 475161"/>
                  <a:gd name="connsiteX3" fmla="*/ 667106 w 831715"/>
                  <a:gd name="connsiteY3" fmla="*/ 0 h 475161"/>
                  <a:gd name="connsiteX4" fmla="*/ 0 w 831715"/>
                  <a:gd name="connsiteY4" fmla="*/ 144420 h 475161"/>
                  <a:gd name="connsiteX0" fmla="*/ 0 w 831715"/>
                  <a:gd name="connsiteY0" fmla="*/ 144420 h 475161"/>
                  <a:gd name="connsiteX1" fmla="*/ 411830 w 831715"/>
                  <a:gd name="connsiteY1" fmla="*/ 475161 h 475161"/>
                  <a:gd name="connsiteX2" fmla="*/ 831715 w 831715"/>
                  <a:gd name="connsiteY2" fmla="*/ 149284 h 475161"/>
                  <a:gd name="connsiteX3" fmla="*/ 667106 w 831715"/>
                  <a:gd name="connsiteY3" fmla="*/ 0 h 475161"/>
                  <a:gd name="connsiteX4" fmla="*/ 4331 w 831715"/>
                  <a:gd name="connsiteY4" fmla="*/ 8665 h 475161"/>
                  <a:gd name="connsiteX5" fmla="*/ 0 w 831715"/>
                  <a:gd name="connsiteY5" fmla="*/ 144420 h 475161"/>
                  <a:gd name="connsiteX0" fmla="*/ 0 w 831715"/>
                  <a:gd name="connsiteY0" fmla="*/ 140087 h 470828"/>
                  <a:gd name="connsiteX1" fmla="*/ 411830 w 831715"/>
                  <a:gd name="connsiteY1" fmla="*/ 470828 h 470828"/>
                  <a:gd name="connsiteX2" fmla="*/ 831715 w 831715"/>
                  <a:gd name="connsiteY2" fmla="*/ 144951 h 470828"/>
                  <a:gd name="connsiteX3" fmla="*/ 831715 w 831715"/>
                  <a:gd name="connsiteY3" fmla="*/ 0 h 470828"/>
                  <a:gd name="connsiteX4" fmla="*/ 4331 w 831715"/>
                  <a:gd name="connsiteY4" fmla="*/ 4332 h 470828"/>
                  <a:gd name="connsiteX5" fmla="*/ 0 w 831715"/>
                  <a:gd name="connsiteY5" fmla="*/ 140087 h 470828"/>
                  <a:gd name="connsiteX0" fmla="*/ 0 w 831715"/>
                  <a:gd name="connsiteY0" fmla="*/ 135755 h 466496"/>
                  <a:gd name="connsiteX1" fmla="*/ 411830 w 831715"/>
                  <a:gd name="connsiteY1" fmla="*/ 466496 h 466496"/>
                  <a:gd name="connsiteX2" fmla="*/ 831715 w 831715"/>
                  <a:gd name="connsiteY2" fmla="*/ 140619 h 466496"/>
                  <a:gd name="connsiteX3" fmla="*/ 728459 w 831715"/>
                  <a:gd name="connsiteY3" fmla="*/ 55708 h 466496"/>
                  <a:gd name="connsiteX4" fmla="*/ 4331 w 831715"/>
                  <a:gd name="connsiteY4" fmla="*/ 0 h 466496"/>
                  <a:gd name="connsiteX5" fmla="*/ 0 w 831715"/>
                  <a:gd name="connsiteY5" fmla="*/ 135755 h 466496"/>
                  <a:gd name="connsiteX0" fmla="*/ 0 w 831715"/>
                  <a:gd name="connsiteY0" fmla="*/ 82129 h 412870"/>
                  <a:gd name="connsiteX1" fmla="*/ 411830 w 831715"/>
                  <a:gd name="connsiteY1" fmla="*/ 412870 h 412870"/>
                  <a:gd name="connsiteX2" fmla="*/ 831715 w 831715"/>
                  <a:gd name="connsiteY2" fmla="*/ 86993 h 412870"/>
                  <a:gd name="connsiteX3" fmla="*/ 728459 w 831715"/>
                  <a:gd name="connsiteY3" fmla="*/ 2082 h 412870"/>
                  <a:gd name="connsiteX4" fmla="*/ 4332 w 831715"/>
                  <a:gd name="connsiteY4" fmla="*/ 0 h 412870"/>
                  <a:gd name="connsiteX5" fmla="*/ 0 w 831715"/>
                  <a:gd name="connsiteY5" fmla="*/ 82129 h 412870"/>
                  <a:gd name="connsiteX0" fmla="*/ 0 w 839623"/>
                  <a:gd name="connsiteY0" fmla="*/ 82129 h 412870"/>
                  <a:gd name="connsiteX1" fmla="*/ 411830 w 839623"/>
                  <a:gd name="connsiteY1" fmla="*/ 412870 h 412870"/>
                  <a:gd name="connsiteX2" fmla="*/ 831715 w 839623"/>
                  <a:gd name="connsiteY2" fmla="*/ 86993 h 412870"/>
                  <a:gd name="connsiteX3" fmla="*/ 839623 w 839623"/>
                  <a:gd name="connsiteY3" fmla="*/ 2083 h 412870"/>
                  <a:gd name="connsiteX4" fmla="*/ 4332 w 839623"/>
                  <a:gd name="connsiteY4" fmla="*/ 0 h 412870"/>
                  <a:gd name="connsiteX5" fmla="*/ 0 w 839623"/>
                  <a:gd name="connsiteY5" fmla="*/ 82129 h 412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39623" h="412870">
                    <a:moveTo>
                      <a:pt x="0" y="82129"/>
                    </a:moveTo>
                    <a:cubicBezTo>
                      <a:pt x="145105" y="80660"/>
                      <a:pt x="310905" y="152503"/>
                      <a:pt x="411830" y="412870"/>
                    </a:cubicBezTo>
                    <a:cubicBezTo>
                      <a:pt x="496288" y="146322"/>
                      <a:pt x="642482" y="86841"/>
                      <a:pt x="831715" y="86993"/>
                    </a:cubicBezTo>
                    <a:lnTo>
                      <a:pt x="839623" y="2083"/>
                    </a:lnTo>
                    <a:lnTo>
                      <a:pt x="4332" y="0"/>
                    </a:lnTo>
                    <a:lnTo>
                      <a:pt x="0" y="8212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43" name="Group 34"/>
            <p:cNvGrpSpPr/>
            <p:nvPr userDrawn="1"/>
          </p:nvGrpSpPr>
          <p:grpSpPr>
            <a:xfrm>
              <a:off x="140852" y="923636"/>
              <a:ext cx="2187677" cy="322918"/>
              <a:chOff x="-2" y="771525"/>
              <a:chExt cx="3076802" cy="454160"/>
            </a:xfrm>
          </p:grpSpPr>
          <p:sp>
            <p:nvSpPr>
              <p:cNvPr id="45" name="Flowchart: Process 44"/>
              <p:cNvSpPr/>
              <p:nvPr/>
            </p:nvSpPr>
            <p:spPr>
              <a:xfrm>
                <a:off x="-2" y="771525"/>
                <a:ext cx="3076802" cy="454160"/>
              </a:xfrm>
              <a:prstGeom prst="flowChartProcess">
                <a:avLst/>
              </a:prstGeom>
              <a:solidFill>
                <a:srgbClr val="585874"/>
              </a:solidFill>
              <a:ln>
                <a:noFill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2600" b="1" dirty="0">
                  <a:solidFill>
                    <a:schemeClr val="dk1"/>
                  </a:solidFill>
                  <a:latin typeface="Trebuchet MS" pitchFamily="34" charset="0"/>
                </a:endParaRPr>
              </a:p>
            </p:txBody>
          </p:sp>
          <p:grpSp>
            <p:nvGrpSpPr>
              <p:cNvPr id="48" name="Group 36"/>
              <p:cNvGrpSpPr/>
              <p:nvPr/>
            </p:nvGrpSpPr>
            <p:grpSpPr>
              <a:xfrm>
                <a:off x="188844" y="890429"/>
                <a:ext cx="273844" cy="216511"/>
                <a:chOff x="377952" y="1463835"/>
                <a:chExt cx="273844" cy="216511"/>
              </a:xfrm>
            </p:grpSpPr>
            <p:sp>
              <p:nvSpPr>
                <p:cNvPr id="49" name="Rectangle 48"/>
                <p:cNvSpPr/>
                <p:nvPr/>
              </p:nvSpPr>
              <p:spPr>
                <a:xfrm>
                  <a:off x="377952" y="1463835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0" name="Rectangle 49"/>
                <p:cNvSpPr/>
                <p:nvPr/>
              </p:nvSpPr>
              <p:spPr>
                <a:xfrm>
                  <a:off x="377952" y="1549231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3" name="Rectangle 52"/>
                <p:cNvSpPr/>
                <p:nvPr/>
              </p:nvSpPr>
              <p:spPr>
                <a:xfrm>
                  <a:off x="377952" y="1634627"/>
                  <a:ext cx="273844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image" Target="../media/image6.jpeg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7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8204D5-B88C-49DC-94C1-44963B084153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 userDrawn="1"/>
        </p:nvSpPr>
        <p:spPr>
          <a:xfrm>
            <a:off x="2466383" y="1263651"/>
            <a:ext cx="6489700" cy="3022600"/>
          </a:xfrm>
          <a:prstGeom prst="rect">
            <a:avLst/>
          </a:prstGeom>
          <a:solidFill>
            <a:schemeClr val="bg1">
              <a:alpha val="0"/>
            </a:schemeClr>
          </a:solidFill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/>
          <p:cNvSpPr/>
          <p:nvPr userDrawn="1"/>
        </p:nvSpPr>
        <p:spPr>
          <a:xfrm>
            <a:off x="148048" y="862145"/>
            <a:ext cx="2180483" cy="3431031"/>
          </a:xfrm>
          <a:prstGeom prst="rect">
            <a:avLst/>
          </a:prstGeom>
          <a:solidFill>
            <a:schemeClr val="bg1">
              <a:alpha val="0"/>
            </a:schemeClr>
          </a:solidFill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/>
          <p:cNvSpPr/>
          <p:nvPr userDrawn="1"/>
        </p:nvSpPr>
        <p:spPr>
          <a:xfrm>
            <a:off x="2477851" y="2333316"/>
            <a:ext cx="329791" cy="645251"/>
          </a:xfrm>
          <a:prstGeom prst="rect">
            <a:avLst/>
          </a:prstGeom>
          <a:solidFill>
            <a:srgbClr val="5858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/>
              <a:t>&lt;</a:t>
            </a:r>
            <a:endParaRPr lang="en-US" sz="2400" b="1" dirty="0"/>
          </a:p>
        </p:txBody>
      </p:sp>
      <p:sp>
        <p:nvSpPr>
          <p:cNvPr id="21" name="Rectangle 20"/>
          <p:cNvSpPr/>
          <p:nvPr userDrawn="1"/>
        </p:nvSpPr>
        <p:spPr>
          <a:xfrm>
            <a:off x="8619291" y="2333316"/>
            <a:ext cx="329791" cy="645251"/>
          </a:xfrm>
          <a:prstGeom prst="rect">
            <a:avLst/>
          </a:prstGeom>
          <a:solidFill>
            <a:srgbClr val="5858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/>
              <a:t>&gt;</a:t>
            </a:r>
            <a:endParaRPr lang="en-US" sz="2400" b="1" dirty="0"/>
          </a:p>
        </p:txBody>
      </p:sp>
      <p:grpSp>
        <p:nvGrpSpPr>
          <p:cNvPr id="31" name="Group 30"/>
          <p:cNvGrpSpPr/>
          <p:nvPr userDrawn="1"/>
        </p:nvGrpSpPr>
        <p:grpSpPr>
          <a:xfrm>
            <a:off x="159518" y="2228850"/>
            <a:ext cx="2155860" cy="387148"/>
            <a:chOff x="335965" y="3233582"/>
            <a:chExt cx="2155860" cy="387148"/>
          </a:xfrm>
        </p:grpSpPr>
        <p:sp>
          <p:nvSpPr>
            <p:cNvPr id="32" name="Rectangle 31"/>
            <p:cNvSpPr/>
            <p:nvPr/>
          </p:nvSpPr>
          <p:spPr>
            <a:xfrm>
              <a:off x="335965" y="3233582"/>
              <a:ext cx="214852" cy="387148"/>
            </a:xfrm>
            <a:prstGeom prst="rect">
              <a:avLst/>
            </a:prstGeom>
            <a:solidFill>
              <a:srgbClr val="585874">
                <a:alpha val="7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/>
                <a:t>&lt;</a:t>
              </a:r>
              <a:endParaRPr lang="en-US" sz="1600" b="1" dirty="0"/>
            </a:p>
          </p:txBody>
        </p:sp>
        <p:sp>
          <p:nvSpPr>
            <p:cNvPr id="33" name="Rectangle 32"/>
            <p:cNvSpPr/>
            <p:nvPr/>
          </p:nvSpPr>
          <p:spPr>
            <a:xfrm>
              <a:off x="2276973" y="3233582"/>
              <a:ext cx="214852" cy="387148"/>
            </a:xfrm>
            <a:prstGeom prst="rect">
              <a:avLst/>
            </a:prstGeom>
            <a:solidFill>
              <a:srgbClr val="585874">
                <a:alpha val="7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/>
                <a:t>&gt;</a:t>
              </a:r>
              <a:endParaRPr lang="en-US" sz="1600" b="1" dirty="0"/>
            </a:p>
          </p:txBody>
        </p:sp>
      </p:grpSp>
      <p:grpSp>
        <p:nvGrpSpPr>
          <p:cNvPr id="40" name="Group 8"/>
          <p:cNvGrpSpPr/>
          <p:nvPr userDrawn="1"/>
        </p:nvGrpSpPr>
        <p:grpSpPr>
          <a:xfrm>
            <a:off x="2459189" y="552451"/>
            <a:ext cx="6501595" cy="473486"/>
            <a:chOff x="0" y="1"/>
            <a:chExt cx="9144000" cy="665922"/>
          </a:xfrm>
        </p:grpSpPr>
        <p:sp>
          <p:nvSpPr>
            <p:cNvPr id="41" name="Rectangle 40"/>
            <p:cNvSpPr/>
            <p:nvPr/>
          </p:nvSpPr>
          <p:spPr>
            <a:xfrm>
              <a:off x="0" y="1"/>
              <a:ext cx="9144000" cy="6659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dirty="0">
                <a:solidFill>
                  <a:srgbClr val="FFFFFE"/>
                </a:solidFill>
                <a:ea typeface="ＭＳ Ｐゴシック" pitchFamily="-110" charset="-128"/>
                <a:cs typeface="ＭＳ Ｐゴシック" pitchFamily="-110" charset="-128"/>
              </a:endParaRPr>
            </a:p>
          </p:txBody>
        </p:sp>
        <p:pic>
          <p:nvPicPr>
            <p:cNvPr id="43" name="Picture 2" descr="C:\Documents and Settings\sarumuga\Desktop\Subha\CG Univerity\CG Univerity Jobs\University_logo_Col.jpg"/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7649817" y="126730"/>
              <a:ext cx="1371600" cy="3272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cxnSp>
        <p:nvCxnSpPr>
          <p:cNvPr id="44" name="Straight Connector 43"/>
          <p:cNvCxnSpPr/>
          <p:nvPr userDrawn="1"/>
        </p:nvCxnSpPr>
        <p:spPr>
          <a:xfrm>
            <a:off x="3657600" y="635393"/>
            <a:ext cx="0" cy="29787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 userDrawn="1"/>
        </p:nvSpPr>
        <p:spPr>
          <a:xfrm>
            <a:off x="148048" y="4295776"/>
            <a:ext cx="2180483" cy="2562224"/>
          </a:xfrm>
          <a:prstGeom prst="rect">
            <a:avLst/>
          </a:prstGeom>
          <a:solidFill>
            <a:srgbClr val="F7F7F7"/>
          </a:solidFill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5" name="Straight Connector 44"/>
          <p:cNvCxnSpPr/>
          <p:nvPr userDrawn="1"/>
        </p:nvCxnSpPr>
        <p:spPr>
          <a:xfrm>
            <a:off x="0" y="4286250"/>
            <a:ext cx="9144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reeform 45"/>
          <p:cNvSpPr>
            <a:spLocks/>
          </p:cNvSpPr>
          <p:nvPr userDrawn="1">
            <p:custDataLst>
              <p:tags r:id="rId16"/>
            </p:custDataLst>
          </p:nvPr>
        </p:nvSpPr>
        <p:spPr bwMode="auto">
          <a:xfrm>
            <a:off x="-1" y="46420"/>
            <a:ext cx="9153525" cy="464628"/>
          </a:xfrm>
          <a:custGeom>
            <a:avLst/>
            <a:gdLst>
              <a:gd name="connsiteX0" fmla="*/ 9509 w 10000"/>
              <a:gd name="connsiteY0" fmla="*/ 4537 h 10000"/>
              <a:gd name="connsiteX1" fmla="*/ 972 w 10000"/>
              <a:gd name="connsiteY1" fmla="*/ 4537 h 10000"/>
              <a:gd name="connsiteX2" fmla="*/ 484 w 10000"/>
              <a:gd name="connsiteY2" fmla="*/ 9122 h 10000"/>
              <a:gd name="connsiteX3" fmla="*/ 0 w 10000"/>
              <a:gd name="connsiteY3" fmla="*/ 4537 h 10000"/>
              <a:gd name="connsiteX4" fmla="*/ 0 w 10000"/>
              <a:gd name="connsiteY4" fmla="*/ 5463 h 10000"/>
              <a:gd name="connsiteX5" fmla="*/ 484 w 10000"/>
              <a:gd name="connsiteY5" fmla="*/ 10000 h 10000"/>
              <a:gd name="connsiteX6" fmla="*/ 972 w 10000"/>
              <a:gd name="connsiteY6" fmla="*/ 5463 h 10000"/>
              <a:gd name="connsiteX7" fmla="*/ 8912 w 10000"/>
              <a:gd name="connsiteY7" fmla="*/ 5514 h 10000"/>
              <a:gd name="connsiteX8" fmla="*/ 10000 w 10000"/>
              <a:gd name="connsiteY8" fmla="*/ 927 h 10000"/>
              <a:gd name="connsiteX9" fmla="*/ 10000 w 10000"/>
              <a:gd name="connsiteY9" fmla="*/ 0 h 10000"/>
              <a:gd name="connsiteX10" fmla="*/ 9509 w 10000"/>
              <a:gd name="connsiteY10" fmla="*/ 4537 h 10000"/>
              <a:gd name="connsiteX0" fmla="*/ 8912 w 10000"/>
              <a:gd name="connsiteY0" fmla="*/ 4577 h 10000"/>
              <a:gd name="connsiteX1" fmla="*/ 972 w 10000"/>
              <a:gd name="connsiteY1" fmla="*/ 4537 h 10000"/>
              <a:gd name="connsiteX2" fmla="*/ 484 w 10000"/>
              <a:gd name="connsiteY2" fmla="*/ 9122 h 10000"/>
              <a:gd name="connsiteX3" fmla="*/ 0 w 10000"/>
              <a:gd name="connsiteY3" fmla="*/ 4537 h 10000"/>
              <a:gd name="connsiteX4" fmla="*/ 0 w 10000"/>
              <a:gd name="connsiteY4" fmla="*/ 5463 h 10000"/>
              <a:gd name="connsiteX5" fmla="*/ 484 w 10000"/>
              <a:gd name="connsiteY5" fmla="*/ 10000 h 10000"/>
              <a:gd name="connsiteX6" fmla="*/ 972 w 10000"/>
              <a:gd name="connsiteY6" fmla="*/ 5463 h 10000"/>
              <a:gd name="connsiteX7" fmla="*/ 8912 w 10000"/>
              <a:gd name="connsiteY7" fmla="*/ 5514 h 10000"/>
              <a:gd name="connsiteX8" fmla="*/ 10000 w 10000"/>
              <a:gd name="connsiteY8" fmla="*/ 927 h 10000"/>
              <a:gd name="connsiteX9" fmla="*/ 10000 w 10000"/>
              <a:gd name="connsiteY9" fmla="*/ 0 h 10000"/>
              <a:gd name="connsiteX10" fmla="*/ 8912 w 10000"/>
              <a:gd name="connsiteY10" fmla="*/ 4577 h 10000"/>
              <a:gd name="connsiteX0" fmla="*/ 8912 w 10000"/>
              <a:gd name="connsiteY0" fmla="*/ 4383 h 9806"/>
              <a:gd name="connsiteX1" fmla="*/ 972 w 10000"/>
              <a:gd name="connsiteY1" fmla="*/ 4343 h 9806"/>
              <a:gd name="connsiteX2" fmla="*/ 484 w 10000"/>
              <a:gd name="connsiteY2" fmla="*/ 8928 h 9806"/>
              <a:gd name="connsiteX3" fmla="*/ 0 w 10000"/>
              <a:gd name="connsiteY3" fmla="*/ 4343 h 9806"/>
              <a:gd name="connsiteX4" fmla="*/ 0 w 10000"/>
              <a:gd name="connsiteY4" fmla="*/ 5269 h 9806"/>
              <a:gd name="connsiteX5" fmla="*/ 484 w 10000"/>
              <a:gd name="connsiteY5" fmla="*/ 9806 h 9806"/>
              <a:gd name="connsiteX6" fmla="*/ 972 w 10000"/>
              <a:gd name="connsiteY6" fmla="*/ 5269 h 9806"/>
              <a:gd name="connsiteX7" fmla="*/ 8912 w 10000"/>
              <a:gd name="connsiteY7" fmla="*/ 5320 h 9806"/>
              <a:gd name="connsiteX8" fmla="*/ 10000 w 10000"/>
              <a:gd name="connsiteY8" fmla="*/ 733 h 9806"/>
              <a:gd name="connsiteX9" fmla="*/ 9231 w 10000"/>
              <a:gd name="connsiteY9" fmla="*/ 0 h 9806"/>
              <a:gd name="connsiteX10" fmla="*/ 8912 w 10000"/>
              <a:gd name="connsiteY10" fmla="*/ 4383 h 9806"/>
              <a:gd name="connsiteX0" fmla="*/ 8912 w 9297"/>
              <a:gd name="connsiteY0" fmla="*/ 4470 h 10000"/>
              <a:gd name="connsiteX1" fmla="*/ 972 w 9297"/>
              <a:gd name="connsiteY1" fmla="*/ 4429 h 10000"/>
              <a:gd name="connsiteX2" fmla="*/ 484 w 9297"/>
              <a:gd name="connsiteY2" fmla="*/ 9105 h 10000"/>
              <a:gd name="connsiteX3" fmla="*/ 0 w 9297"/>
              <a:gd name="connsiteY3" fmla="*/ 4429 h 10000"/>
              <a:gd name="connsiteX4" fmla="*/ 0 w 9297"/>
              <a:gd name="connsiteY4" fmla="*/ 5373 h 10000"/>
              <a:gd name="connsiteX5" fmla="*/ 484 w 9297"/>
              <a:gd name="connsiteY5" fmla="*/ 10000 h 10000"/>
              <a:gd name="connsiteX6" fmla="*/ 972 w 9297"/>
              <a:gd name="connsiteY6" fmla="*/ 5373 h 10000"/>
              <a:gd name="connsiteX7" fmla="*/ 8912 w 9297"/>
              <a:gd name="connsiteY7" fmla="*/ 5425 h 10000"/>
              <a:gd name="connsiteX8" fmla="*/ 9231 w 9297"/>
              <a:gd name="connsiteY8" fmla="*/ 1642 h 10000"/>
              <a:gd name="connsiteX9" fmla="*/ 9231 w 9297"/>
              <a:gd name="connsiteY9" fmla="*/ 0 h 10000"/>
              <a:gd name="connsiteX10" fmla="*/ 8912 w 9297"/>
              <a:gd name="connsiteY10" fmla="*/ 4470 h 10000"/>
              <a:gd name="connsiteX0" fmla="*/ 9586 w 10000"/>
              <a:gd name="connsiteY0" fmla="*/ 4470 h 10000"/>
              <a:gd name="connsiteX1" fmla="*/ 1045 w 10000"/>
              <a:gd name="connsiteY1" fmla="*/ 4429 h 10000"/>
              <a:gd name="connsiteX2" fmla="*/ 521 w 10000"/>
              <a:gd name="connsiteY2" fmla="*/ 9105 h 10000"/>
              <a:gd name="connsiteX3" fmla="*/ 0 w 10000"/>
              <a:gd name="connsiteY3" fmla="*/ 4429 h 10000"/>
              <a:gd name="connsiteX4" fmla="*/ 0 w 10000"/>
              <a:gd name="connsiteY4" fmla="*/ 5373 h 10000"/>
              <a:gd name="connsiteX5" fmla="*/ 521 w 10000"/>
              <a:gd name="connsiteY5" fmla="*/ 10000 h 10000"/>
              <a:gd name="connsiteX6" fmla="*/ 1045 w 10000"/>
              <a:gd name="connsiteY6" fmla="*/ 5373 h 10000"/>
              <a:gd name="connsiteX7" fmla="*/ 9281 w 10000"/>
              <a:gd name="connsiteY7" fmla="*/ 5426 h 10000"/>
              <a:gd name="connsiteX8" fmla="*/ 9929 w 10000"/>
              <a:gd name="connsiteY8" fmla="*/ 1642 h 10000"/>
              <a:gd name="connsiteX9" fmla="*/ 9929 w 10000"/>
              <a:gd name="connsiteY9" fmla="*/ 0 h 10000"/>
              <a:gd name="connsiteX10" fmla="*/ 9586 w 10000"/>
              <a:gd name="connsiteY10" fmla="*/ 4470 h 10000"/>
              <a:gd name="connsiteX0" fmla="*/ 9586 w 10000"/>
              <a:gd name="connsiteY0" fmla="*/ 4470 h 10000"/>
              <a:gd name="connsiteX1" fmla="*/ 1045 w 10000"/>
              <a:gd name="connsiteY1" fmla="*/ 4429 h 10000"/>
              <a:gd name="connsiteX2" fmla="*/ 521 w 10000"/>
              <a:gd name="connsiteY2" fmla="*/ 9105 h 10000"/>
              <a:gd name="connsiteX3" fmla="*/ 0 w 10000"/>
              <a:gd name="connsiteY3" fmla="*/ 4429 h 10000"/>
              <a:gd name="connsiteX4" fmla="*/ 0 w 10000"/>
              <a:gd name="connsiteY4" fmla="*/ 5373 h 10000"/>
              <a:gd name="connsiteX5" fmla="*/ 521 w 10000"/>
              <a:gd name="connsiteY5" fmla="*/ 10000 h 10000"/>
              <a:gd name="connsiteX6" fmla="*/ 1045 w 10000"/>
              <a:gd name="connsiteY6" fmla="*/ 5373 h 10000"/>
              <a:gd name="connsiteX7" fmla="*/ 9281 w 10000"/>
              <a:gd name="connsiteY7" fmla="*/ 5426 h 10000"/>
              <a:gd name="connsiteX8" fmla="*/ 9929 w 10000"/>
              <a:gd name="connsiteY8" fmla="*/ 1642 h 10000"/>
              <a:gd name="connsiteX9" fmla="*/ 9929 w 10000"/>
              <a:gd name="connsiteY9" fmla="*/ 0 h 10000"/>
              <a:gd name="connsiteX10" fmla="*/ 9586 w 10000"/>
              <a:gd name="connsiteY10" fmla="*/ 4470 h 10000"/>
              <a:gd name="connsiteX0" fmla="*/ 9586 w 10000"/>
              <a:gd name="connsiteY0" fmla="*/ 4470 h 10000"/>
              <a:gd name="connsiteX1" fmla="*/ 1045 w 10000"/>
              <a:gd name="connsiteY1" fmla="*/ 4429 h 10000"/>
              <a:gd name="connsiteX2" fmla="*/ 521 w 10000"/>
              <a:gd name="connsiteY2" fmla="*/ 9105 h 10000"/>
              <a:gd name="connsiteX3" fmla="*/ 0 w 10000"/>
              <a:gd name="connsiteY3" fmla="*/ 4429 h 10000"/>
              <a:gd name="connsiteX4" fmla="*/ 0 w 10000"/>
              <a:gd name="connsiteY4" fmla="*/ 5373 h 10000"/>
              <a:gd name="connsiteX5" fmla="*/ 521 w 10000"/>
              <a:gd name="connsiteY5" fmla="*/ 10000 h 10000"/>
              <a:gd name="connsiteX6" fmla="*/ 1045 w 10000"/>
              <a:gd name="connsiteY6" fmla="*/ 5373 h 10000"/>
              <a:gd name="connsiteX7" fmla="*/ 9281 w 10000"/>
              <a:gd name="connsiteY7" fmla="*/ 5426 h 10000"/>
              <a:gd name="connsiteX8" fmla="*/ 9929 w 10000"/>
              <a:gd name="connsiteY8" fmla="*/ 1642 h 10000"/>
              <a:gd name="connsiteX9" fmla="*/ 9929 w 10000"/>
              <a:gd name="connsiteY9" fmla="*/ 0 h 10000"/>
              <a:gd name="connsiteX10" fmla="*/ 9586 w 10000"/>
              <a:gd name="connsiteY10" fmla="*/ 4470 h 10000"/>
              <a:gd name="connsiteX0" fmla="*/ 9281 w 9929"/>
              <a:gd name="connsiteY0" fmla="*/ 4558 h 10000"/>
              <a:gd name="connsiteX1" fmla="*/ 1045 w 9929"/>
              <a:gd name="connsiteY1" fmla="*/ 4429 h 10000"/>
              <a:gd name="connsiteX2" fmla="*/ 521 w 9929"/>
              <a:gd name="connsiteY2" fmla="*/ 9105 h 10000"/>
              <a:gd name="connsiteX3" fmla="*/ 0 w 9929"/>
              <a:gd name="connsiteY3" fmla="*/ 4429 h 10000"/>
              <a:gd name="connsiteX4" fmla="*/ 0 w 9929"/>
              <a:gd name="connsiteY4" fmla="*/ 5373 h 10000"/>
              <a:gd name="connsiteX5" fmla="*/ 521 w 9929"/>
              <a:gd name="connsiteY5" fmla="*/ 10000 h 10000"/>
              <a:gd name="connsiteX6" fmla="*/ 1045 w 9929"/>
              <a:gd name="connsiteY6" fmla="*/ 5373 h 10000"/>
              <a:gd name="connsiteX7" fmla="*/ 9281 w 9929"/>
              <a:gd name="connsiteY7" fmla="*/ 5426 h 10000"/>
              <a:gd name="connsiteX8" fmla="*/ 9929 w 9929"/>
              <a:gd name="connsiteY8" fmla="*/ 1642 h 10000"/>
              <a:gd name="connsiteX9" fmla="*/ 9929 w 9929"/>
              <a:gd name="connsiteY9" fmla="*/ 0 h 10000"/>
              <a:gd name="connsiteX10" fmla="*/ 9281 w 9929"/>
              <a:gd name="connsiteY10" fmla="*/ 4558 h 10000"/>
              <a:gd name="connsiteX0" fmla="*/ 9347 w 10000"/>
              <a:gd name="connsiteY0" fmla="*/ 4558 h 10000"/>
              <a:gd name="connsiteX1" fmla="*/ 1052 w 10000"/>
              <a:gd name="connsiteY1" fmla="*/ 4429 h 10000"/>
              <a:gd name="connsiteX2" fmla="*/ 525 w 10000"/>
              <a:gd name="connsiteY2" fmla="*/ 9105 h 10000"/>
              <a:gd name="connsiteX3" fmla="*/ 0 w 10000"/>
              <a:gd name="connsiteY3" fmla="*/ 4429 h 10000"/>
              <a:gd name="connsiteX4" fmla="*/ 0 w 10000"/>
              <a:gd name="connsiteY4" fmla="*/ 5373 h 10000"/>
              <a:gd name="connsiteX5" fmla="*/ 525 w 10000"/>
              <a:gd name="connsiteY5" fmla="*/ 10000 h 10000"/>
              <a:gd name="connsiteX6" fmla="*/ 1052 w 10000"/>
              <a:gd name="connsiteY6" fmla="*/ 5373 h 10000"/>
              <a:gd name="connsiteX7" fmla="*/ 9347 w 10000"/>
              <a:gd name="connsiteY7" fmla="*/ 5426 h 10000"/>
              <a:gd name="connsiteX8" fmla="*/ 10000 w 10000"/>
              <a:gd name="connsiteY8" fmla="*/ 0 h 10000"/>
              <a:gd name="connsiteX9" fmla="*/ 10000 w 10000"/>
              <a:gd name="connsiteY9" fmla="*/ 0 h 10000"/>
              <a:gd name="connsiteX10" fmla="*/ 9347 w 10000"/>
              <a:gd name="connsiteY10" fmla="*/ 4558 h 10000"/>
              <a:gd name="connsiteX0" fmla="*/ 9475 w 10000"/>
              <a:gd name="connsiteY0" fmla="*/ 4447 h 10000"/>
              <a:gd name="connsiteX1" fmla="*/ 1052 w 10000"/>
              <a:gd name="connsiteY1" fmla="*/ 4429 h 10000"/>
              <a:gd name="connsiteX2" fmla="*/ 525 w 10000"/>
              <a:gd name="connsiteY2" fmla="*/ 9105 h 10000"/>
              <a:gd name="connsiteX3" fmla="*/ 0 w 10000"/>
              <a:gd name="connsiteY3" fmla="*/ 4429 h 10000"/>
              <a:gd name="connsiteX4" fmla="*/ 0 w 10000"/>
              <a:gd name="connsiteY4" fmla="*/ 5373 h 10000"/>
              <a:gd name="connsiteX5" fmla="*/ 525 w 10000"/>
              <a:gd name="connsiteY5" fmla="*/ 10000 h 10000"/>
              <a:gd name="connsiteX6" fmla="*/ 1052 w 10000"/>
              <a:gd name="connsiteY6" fmla="*/ 5373 h 10000"/>
              <a:gd name="connsiteX7" fmla="*/ 9347 w 10000"/>
              <a:gd name="connsiteY7" fmla="*/ 5426 h 10000"/>
              <a:gd name="connsiteX8" fmla="*/ 10000 w 10000"/>
              <a:gd name="connsiteY8" fmla="*/ 0 h 10000"/>
              <a:gd name="connsiteX9" fmla="*/ 10000 w 10000"/>
              <a:gd name="connsiteY9" fmla="*/ 0 h 10000"/>
              <a:gd name="connsiteX10" fmla="*/ 9475 w 10000"/>
              <a:gd name="connsiteY10" fmla="*/ 4447 h 10000"/>
              <a:gd name="connsiteX0" fmla="*/ 9475 w 10000"/>
              <a:gd name="connsiteY0" fmla="*/ 4447 h 10000"/>
              <a:gd name="connsiteX1" fmla="*/ 1052 w 10000"/>
              <a:gd name="connsiteY1" fmla="*/ 4429 h 10000"/>
              <a:gd name="connsiteX2" fmla="*/ 525 w 10000"/>
              <a:gd name="connsiteY2" fmla="*/ 9105 h 10000"/>
              <a:gd name="connsiteX3" fmla="*/ 0 w 10000"/>
              <a:gd name="connsiteY3" fmla="*/ 4429 h 10000"/>
              <a:gd name="connsiteX4" fmla="*/ 0 w 10000"/>
              <a:gd name="connsiteY4" fmla="*/ 5373 h 10000"/>
              <a:gd name="connsiteX5" fmla="*/ 525 w 10000"/>
              <a:gd name="connsiteY5" fmla="*/ 10000 h 10000"/>
              <a:gd name="connsiteX6" fmla="*/ 1052 w 10000"/>
              <a:gd name="connsiteY6" fmla="*/ 5373 h 10000"/>
              <a:gd name="connsiteX7" fmla="*/ 9449 w 10000"/>
              <a:gd name="connsiteY7" fmla="*/ 5470 h 10000"/>
              <a:gd name="connsiteX8" fmla="*/ 10000 w 10000"/>
              <a:gd name="connsiteY8" fmla="*/ 0 h 10000"/>
              <a:gd name="connsiteX9" fmla="*/ 10000 w 10000"/>
              <a:gd name="connsiteY9" fmla="*/ 0 h 10000"/>
              <a:gd name="connsiteX10" fmla="*/ 9475 w 10000"/>
              <a:gd name="connsiteY10" fmla="*/ 4447 h 10000"/>
              <a:gd name="connsiteX0" fmla="*/ 9475 w 10956"/>
              <a:gd name="connsiteY0" fmla="*/ 4447 h 10000"/>
              <a:gd name="connsiteX1" fmla="*/ 1052 w 10956"/>
              <a:gd name="connsiteY1" fmla="*/ 4429 h 10000"/>
              <a:gd name="connsiteX2" fmla="*/ 525 w 10956"/>
              <a:gd name="connsiteY2" fmla="*/ 9105 h 10000"/>
              <a:gd name="connsiteX3" fmla="*/ 0 w 10956"/>
              <a:gd name="connsiteY3" fmla="*/ 4429 h 10000"/>
              <a:gd name="connsiteX4" fmla="*/ 0 w 10956"/>
              <a:gd name="connsiteY4" fmla="*/ 5373 h 10000"/>
              <a:gd name="connsiteX5" fmla="*/ 525 w 10956"/>
              <a:gd name="connsiteY5" fmla="*/ 10000 h 10000"/>
              <a:gd name="connsiteX6" fmla="*/ 1052 w 10956"/>
              <a:gd name="connsiteY6" fmla="*/ 5373 h 10000"/>
              <a:gd name="connsiteX7" fmla="*/ 9449 w 10956"/>
              <a:gd name="connsiteY7" fmla="*/ 5470 h 10000"/>
              <a:gd name="connsiteX8" fmla="*/ 10000 w 10956"/>
              <a:gd name="connsiteY8" fmla="*/ 0 h 10000"/>
              <a:gd name="connsiteX9" fmla="*/ 10000 w 10956"/>
              <a:gd name="connsiteY9" fmla="*/ 0 h 10000"/>
              <a:gd name="connsiteX10" fmla="*/ 9940 w 10956"/>
              <a:gd name="connsiteY10" fmla="*/ 1168 h 10000"/>
              <a:gd name="connsiteX11" fmla="*/ 9475 w 10956"/>
              <a:gd name="connsiteY11" fmla="*/ 4447 h 10000"/>
              <a:gd name="connsiteX0" fmla="*/ 9475 w 10956"/>
              <a:gd name="connsiteY0" fmla="*/ 4447 h 10000"/>
              <a:gd name="connsiteX1" fmla="*/ 1052 w 10956"/>
              <a:gd name="connsiteY1" fmla="*/ 4429 h 10000"/>
              <a:gd name="connsiteX2" fmla="*/ 525 w 10956"/>
              <a:gd name="connsiteY2" fmla="*/ 9105 h 10000"/>
              <a:gd name="connsiteX3" fmla="*/ 0 w 10956"/>
              <a:gd name="connsiteY3" fmla="*/ 4429 h 10000"/>
              <a:gd name="connsiteX4" fmla="*/ 0 w 10956"/>
              <a:gd name="connsiteY4" fmla="*/ 5373 h 10000"/>
              <a:gd name="connsiteX5" fmla="*/ 525 w 10956"/>
              <a:gd name="connsiteY5" fmla="*/ 10000 h 10000"/>
              <a:gd name="connsiteX6" fmla="*/ 1052 w 10956"/>
              <a:gd name="connsiteY6" fmla="*/ 5373 h 10000"/>
              <a:gd name="connsiteX7" fmla="*/ 9449 w 10956"/>
              <a:gd name="connsiteY7" fmla="*/ 5470 h 10000"/>
              <a:gd name="connsiteX8" fmla="*/ 10000 w 10956"/>
              <a:gd name="connsiteY8" fmla="*/ 0 h 10000"/>
              <a:gd name="connsiteX9" fmla="*/ 10000 w 10956"/>
              <a:gd name="connsiteY9" fmla="*/ 0 h 10000"/>
              <a:gd name="connsiteX10" fmla="*/ 10104 w 10956"/>
              <a:gd name="connsiteY10" fmla="*/ 1401 h 10000"/>
              <a:gd name="connsiteX11" fmla="*/ 9475 w 10956"/>
              <a:gd name="connsiteY11" fmla="*/ 4447 h 10000"/>
              <a:gd name="connsiteX0" fmla="*/ 9475 w 10966"/>
              <a:gd name="connsiteY0" fmla="*/ 4447 h 10000"/>
              <a:gd name="connsiteX1" fmla="*/ 1052 w 10966"/>
              <a:gd name="connsiteY1" fmla="*/ 4429 h 10000"/>
              <a:gd name="connsiteX2" fmla="*/ 525 w 10966"/>
              <a:gd name="connsiteY2" fmla="*/ 9105 h 10000"/>
              <a:gd name="connsiteX3" fmla="*/ 0 w 10966"/>
              <a:gd name="connsiteY3" fmla="*/ 4429 h 10000"/>
              <a:gd name="connsiteX4" fmla="*/ 0 w 10966"/>
              <a:gd name="connsiteY4" fmla="*/ 5373 h 10000"/>
              <a:gd name="connsiteX5" fmla="*/ 525 w 10966"/>
              <a:gd name="connsiteY5" fmla="*/ 10000 h 10000"/>
              <a:gd name="connsiteX6" fmla="*/ 1052 w 10966"/>
              <a:gd name="connsiteY6" fmla="*/ 5373 h 10000"/>
              <a:gd name="connsiteX7" fmla="*/ 9449 w 10966"/>
              <a:gd name="connsiteY7" fmla="*/ 5470 h 10000"/>
              <a:gd name="connsiteX8" fmla="*/ 10000 w 10966"/>
              <a:gd name="connsiteY8" fmla="*/ 0 h 10000"/>
              <a:gd name="connsiteX9" fmla="*/ 10000 w 10966"/>
              <a:gd name="connsiteY9" fmla="*/ 0 h 10000"/>
              <a:gd name="connsiteX10" fmla="*/ 9475 w 10966"/>
              <a:gd name="connsiteY10" fmla="*/ 4447 h 10000"/>
              <a:gd name="connsiteX0" fmla="*/ 9475 w 10966"/>
              <a:gd name="connsiteY0" fmla="*/ 4447 h 10000"/>
              <a:gd name="connsiteX1" fmla="*/ 1052 w 10966"/>
              <a:gd name="connsiteY1" fmla="*/ 4429 h 10000"/>
              <a:gd name="connsiteX2" fmla="*/ 525 w 10966"/>
              <a:gd name="connsiteY2" fmla="*/ 9105 h 10000"/>
              <a:gd name="connsiteX3" fmla="*/ 0 w 10966"/>
              <a:gd name="connsiteY3" fmla="*/ 4429 h 10000"/>
              <a:gd name="connsiteX4" fmla="*/ 0 w 10966"/>
              <a:gd name="connsiteY4" fmla="*/ 5373 h 10000"/>
              <a:gd name="connsiteX5" fmla="*/ 525 w 10966"/>
              <a:gd name="connsiteY5" fmla="*/ 10000 h 10000"/>
              <a:gd name="connsiteX6" fmla="*/ 1052 w 10966"/>
              <a:gd name="connsiteY6" fmla="*/ 5373 h 10000"/>
              <a:gd name="connsiteX7" fmla="*/ 9449 w 10966"/>
              <a:gd name="connsiteY7" fmla="*/ 5470 h 10000"/>
              <a:gd name="connsiteX8" fmla="*/ 10000 w 10966"/>
              <a:gd name="connsiteY8" fmla="*/ 0 h 10000"/>
              <a:gd name="connsiteX9" fmla="*/ 10060 w 10966"/>
              <a:gd name="connsiteY9" fmla="*/ 1567 h 10000"/>
              <a:gd name="connsiteX10" fmla="*/ 9475 w 10966"/>
              <a:gd name="connsiteY10" fmla="*/ 4447 h 10000"/>
              <a:gd name="connsiteX0" fmla="*/ 9475 w 10966"/>
              <a:gd name="connsiteY0" fmla="*/ 3647 h 9200"/>
              <a:gd name="connsiteX1" fmla="*/ 1052 w 10966"/>
              <a:gd name="connsiteY1" fmla="*/ 3629 h 9200"/>
              <a:gd name="connsiteX2" fmla="*/ 525 w 10966"/>
              <a:gd name="connsiteY2" fmla="*/ 8305 h 9200"/>
              <a:gd name="connsiteX3" fmla="*/ 0 w 10966"/>
              <a:gd name="connsiteY3" fmla="*/ 3629 h 9200"/>
              <a:gd name="connsiteX4" fmla="*/ 0 w 10966"/>
              <a:gd name="connsiteY4" fmla="*/ 4573 h 9200"/>
              <a:gd name="connsiteX5" fmla="*/ 525 w 10966"/>
              <a:gd name="connsiteY5" fmla="*/ 9200 h 9200"/>
              <a:gd name="connsiteX6" fmla="*/ 1052 w 10966"/>
              <a:gd name="connsiteY6" fmla="*/ 4573 h 9200"/>
              <a:gd name="connsiteX7" fmla="*/ 9449 w 10966"/>
              <a:gd name="connsiteY7" fmla="*/ 4670 h 9200"/>
              <a:gd name="connsiteX8" fmla="*/ 10099 w 10966"/>
              <a:gd name="connsiteY8" fmla="*/ 0 h 9200"/>
              <a:gd name="connsiteX9" fmla="*/ 10060 w 10966"/>
              <a:gd name="connsiteY9" fmla="*/ 767 h 9200"/>
              <a:gd name="connsiteX10" fmla="*/ 9475 w 10966"/>
              <a:gd name="connsiteY10" fmla="*/ 3647 h 9200"/>
              <a:gd name="connsiteX0" fmla="*/ 8640 w 10000"/>
              <a:gd name="connsiteY0" fmla="*/ 5401 h 11437"/>
              <a:gd name="connsiteX1" fmla="*/ 959 w 10000"/>
              <a:gd name="connsiteY1" fmla="*/ 5382 h 11437"/>
              <a:gd name="connsiteX2" fmla="*/ 479 w 10000"/>
              <a:gd name="connsiteY2" fmla="*/ 10464 h 11437"/>
              <a:gd name="connsiteX3" fmla="*/ 0 w 10000"/>
              <a:gd name="connsiteY3" fmla="*/ 5382 h 11437"/>
              <a:gd name="connsiteX4" fmla="*/ 0 w 10000"/>
              <a:gd name="connsiteY4" fmla="*/ 6408 h 11437"/>
              <a:gd name="connsiteX5" fmla="*/ 479 w 10000"/>
              <a:gd name="connsiteY5" fmla="*/ 11437 h 11437"/>
              <a:gd name="connsiteX6" fmla="*/ 959 w 10000"/>
              <a:gd name="connsiteY6" fmla="*/ 6408 h 11437"/>
              <a:gd name="connsiteX7" fmla="*/ 8617 w 10000"/>
              <a:gd name="connsiteY7" fmla="*/ 6513 h 11437"/>
              <a:gd name="connsiteX8" fmla="*/ 9209 w 10000"/>
              <a:gd name="connsiteY8" fmla="*/ 1437 h 11437"/>
              <a:gd name="connsiteX9" fmla="*/ 9119 w 10000"/>
              <a:gd name="connsiteY9" fmla="*/ 568 h 11437"/>
              <a:gd name="connsiteX10" fmla="*/ 8640 w 10000"/>
              <a:gd name="connsiteY10" fmla="*/ 5401 h 11437"/>
              <a:gd name="connsiteX0" fmla="*/ 8640 w 9228"/>
              <a:gd name="connsiteY0" fmla="*/ 5401 h 11437"/>
              <a:gd name="connsiteX1" fmla="*/ 959 w 9228"/>
              <a:gd name="connsiteY1" fmla="*/ 5382 h 11437"/>
              <a:gd name="connsiteX2" fmla="*/ 479 w 9228"/>
              <a:gd name="connsiteY2" fmla="*/ 10464 h 11437"/>
              <a:gd name="connsiteX3" fmla="*/ 0 w 9228"/>
              <a:gd name="connsiteY3" fmla="*/ 5382 h 11437"/>
              <a:gd name="connsiteX4" fmla="*/ 0 w 9228"/>
              <a:gd name="connsiteY4" fmla="*/ 6408 h 11437"/>
              <a:gd name="connsiteX5" fmla="*/ 479 w 9228"/>
              <a:gd name="connsiteY5" fmla="*/ 11437 h 11437"/>
              <a:gd name="connsiteX6" fmla="*/ 959 w 9228"/>
              <a:gd name="connsiteY6" fmla="*/ 6408 h 11437"/>
              <a:gd name="connsiteX7" fmla="*/ 8617 w 9228"/>
              <a:gd name="connsiteY7" fmla="*/ 6513 h 11437"/>
              <a:gd name="connsiteX8" fmla="*/ 9209 w 9228"/>
              <a:gd name="connsiteY8" fmla="*/ 1437 h 11437"/>
              <a:gd name="connsiteX9" fmla="*/ 9119 w 9228"/>
              <a:gd name="connsiteY9" fmla="*/ 568 h 11437"/>
              <a:gd name="connsiteX10" fmla="*/ 8640 w 9228"/>
              <a:gd name="connsiteY10" fmla="*/ 5401 h 11437"/>
              <a:gd name="connsiteX0" fmla="*/ 9363 w 10000"/>
              <a:gd name="connsiteY0" fmla="*/ 4722 h 10000"/>
              <a:gd name="connsiteX1" fmla="*/ 1039 w 10000"/>
              <a:gd name="connsiteY1" fmla="*/ 4706 h 10000"/>
              <a:gd name="connsiteX2" fmla="*/ 519 w 10000"/>
              <a:gd name="connsiteY2" fmla="*/ 9149 h 10000"/>
              <a:gd name="connsiteX3" fmla="*/ 0 w 10000"/>
              <a:gd name="connsiteY3" fmla="*/ 4706 h 10000"/>
              <a:gd name="connsiteX4" fmla="*/ 0 w 10000"/>
              <a:gd name="connsiteY4" fmla="*/ 5603 h 10000"/>
              <a:gd name="connsiteX5" fmla="*/ 519 w 10000"/>
              <a:gd name="connsiteY5" fmla="*/ 10000 h 10000"/>
              <a:gd name="connsiteX6" fmla="*/ 1039 w 10000"/>
              <a:gd name="connsiteY6" fmla="*/ 5603 h 10000"/>
              <a:gd name="connsiteX7" fmla="*/ 9338 w 10000"/>
              <a:gd name="connsiteY7" fmla="*/ 5695 h 10000"/>
              <a:gd name="connsiteX8" fmla="*/ 9979 w 10000"/>
              <a:gd name="connsiteY8" fmla="*/ 1256 h 10000"/>
              <a:gd name="connsiteX9" fmla="*/ 9882 w 10000"/>
              <a:gd name="connsiteY9" fmla="*/ 497 h 10000"/>
              <a:gd name="connsiteX10" fmla="*/ 9363 w 10000"/>
              <a:gd name="connsiteY10" fmla="*/ 4722 h 10000"/>
              <a:gd name="connsiteX0" fmla="*/ 9363 w 10000"/>
              <a:gd name="connsiteY0" fmla="*/ 4722 h 10000"/>
              <a:gd name="connsiteX1" fmla="*/ 1039 w 10000"/>
              <a:gd name="connsiteY1" fmla="*/ 4706 h 10000"/>
              <a:gd name="connsiteX2" fmla="*/ 519 w 10000"/>
              <a:gd name="connsiteY2" fmla="*/ 9149 h 10000"/>
              <a:gd name="connsiteX3" fmla="*/ 0 w 10000"/>
              <a:gd name="connsiteY3" fmla="*/ 4706 h 10000"/>
              <a:gd name="connsiteX4" fmla="*/ 0 w 10000"/>
              <a:gd name="connsiteY4" fmla="*/ 5603 h 10000"/>
              <a:gd name="connsiteX5" fmla="*/ 519 w 10000"/>
              <a:gd name="connsiteY5" fmla="*/ 10000 h 10000"/>
              <a:gd name="connsiteX6" fmla="*/ 1039 w 10000"/>
              <a:gd name="connsiteY6" fmla="*/ 5603 h 10000"/>
              <a:gd name="connsiteX7" fmla="*/ 9338 w 10000"/>
              <a:gd name="connsiteY7" fmla="*/ 5695 h 10000"/>
              <a:gd name="connsiteX8" fmla="*/ 9979 w 10000"/>
              <a:gd name="connsiteY8" fmla="*/ 1256 h 10000"/>
              <a:gd name="connsiteX9" fmla="*/ 9882 w 10000"/>
              <a:gd name="connsiteY9" fmla="*/ 497 h 10000"/>
              <a:gd name="connsiteX10" fmla="*/ 9363 w 10000"/>
              <a:gd name="connsiteY10" fmla="*/ 4722 h 10000"/>
              <a:gd name="connsiteX0" fmla="*/ 9363 w 10000"/>
              <a:gd name="connsiteY0" fmla="*/ 4722 h 10000"/>
              <a:gd name="connsiteX1" fmla="*/ 1039 w 10000"/>
              <a:gd name="connsiteY1" fmla="*/ 4706 h 10000"/>
              <a:gd name="connsiteX2" fmla="*/ 519 w 10000"/>
              <a:gd name="connsiteY2" fmla="*/ 9149 h 10000"/>
              <a:gd name="connsiteX3" fmla="*/ 0 w 10000"/>
              <a:gd name="connsiteY3" fmla="*/ 4706 h 10000"/>
              <a:gd name="connsiteX4" fmla="*/ 0 w 10000"/>
              <a:gd name="connsiteY4" fmla="*/ 5603 h 10000"/>
              <a:gd name="connsiteX5" fmla="*/ 519 w 10000"/>
              <a:gd name="connsiteY5" fmla="*/ 10000 h 10000"/>
              <a:gd name="connsiteX6" fmla="*/ 1039 w 10000"/>
              <a:gd name="connsiteY6" fmla="*/ 5603 h 10000"/>
              <a:gd name="connsiteX7" fmla="*/ 9338 w 10000"/>
              <a:gd name="connsiteY7" fmla="*/ 5695 h 10000"/>
              <a:gd name="connsiteX8" fmla="*/ 9979 w 10000"/>
              <a:gd name="connsiteY8" fmla="*/ 1256 h 10000"/>
              <a:gd name="connsiteX9" fmla="*/ 9882 w 10000"/>
              <a:gd name="connsiteY9" fmla="*/ 497 h 10000"/>
              <a:gd name="connsiteX10" fmla="*/ 9363 w 10000"/>
              <a:gd name="connsiteY10" fmla="*/ 4722 h 10000"/>
              <a:gd name="connsiteX0" fmla="*/ 9363 w 10000"/>
              <a:gd name="connsiteY0" fmla="*/ 4722 h 10000"/>
              <a:gd name="connsiteX1" fmla="*/ 1039 w 10000"/>
              <a:gd name="connsiteY1" fmla="*/ 4706 h 10000"/>
              <a:gd name="connsiteX2" fmla="*/ 519 w 10000"/>
              <a:gd name="connsiteY2" fmla="*/ 9149 h 10000"/>
              <a:gd name="connsiteX3" fmla="*/ 0 w 10000"/>
              <a:gd name="connsiteY3" fmla="*/ 4706 h 10000"/>
              <a:gd name="connsiteX4" fmla="*/ 0 w 10000"/>
              <a:gd name="connsiteY4" fmla="*/ 5603 h 10000"/>
              <a:gd name="connsiteX5" fmla="*/ 519 w 10000"/>
              <a:gd name="connsiteY5" fmla="*/ 10000 h 10000"/>
              <a:gd name="connsiteX6" fmla="*/ 1039 w 10000"/>
              <a:gd name="connsiteY6" fmla="*/ 5603 h 10000"/>
              <a:gd name="connsiteX7" fmla="*/ 9338 w 10000"/>
              <a:gd name="connsiteY7" fmla="*/ 5695 h 10000"/>
              <a:gd name="connsiteX8" fmla="*/ 9979 w 10000"/>
              <a:gd name="connsiteY8" fmla="*/ 1256 h 10000"/>
              <a:gd name="connsiteX9" fmla="*/ 9882 w 10000"/>
              <a:gd name="connsiteY9" fmla="*/ 497 h 10000"/>
              <a:gd name="connsiteX10" fmla="*/ 9363 w 10000"/>
              <a:gd name="connsiteY10" fmla="*/ 4722 h 10000"/>
              <a:gd name="connsiteX0" fmla="*/ 9363 w 10000"/>
              <a:gd name="connsiteY0" fmla="*/ 4722 h 10000"/>
              <a:gd name="connsiteX1" fmla="*/ 1039 w 10000"/>
              <a:gd name="connsiteY1" fmla="*/ 4706 h 10000"/>
              <a:gd name="connsiteX2" fmla="*/ 519 w 10000"/>
              <a:gd name="connsiteY2" fmla="*/ 9149 h 10000"/>
              <a:gd name="connsiteX3" fmla="*/ 0 w 10000"/>
              <a:gd name="connsiteY3" fmla="*/ 4706 h 10000"/>
              <a:gd name="connsiteX4" fmla="*/ 0 w 10000"/>
              <a:gd name="connsiteY4" fmla="*/ 5603 h 10000"/>
              <a:gd name="connsiteX5" fmla="*/ 519 w 10000"/>
              <a:gd name="connsiteY5" fmla="*/ 10000 h 10000"/>
              <a:gd name="connsiteX6" fmla="*/ 1039 w 10000"/>
              <a:gd name="connsiteY6" fmla="*/ 5603 h 10000"/>
              <a:gd name="connsiteX7" fmla="*/ 9338 w 10000"/>
              <a:gd name="connsiteY7" fmla="*/ 5695 h 10000"/>
              <a:gd name="connsiteX8" fmla="*/ 9979 w 10000"/>
              <a:gd name="connsiteY8" fmla="*/ 1256 h 10000"/>
              <a:gd name="connsiteX9" fmla="*/ 9882 w 10000"/>
              <a:gd name="connsiteY9" fmla="*/ 497 h 10000"/>
              <a:gd name="connsiteX10" fmla="*/ 9363 w 10000"/>
              <a:gd name="connsiteY10" fmla="*/ 4722 h 10000"/>
              <a:gd name="connsiteX0" fmla="*/ 9363 w 10000"/>
              <a:gd name="connsiteY0" fmla="*/ 4722 h 10000"/>
              <a:gd name="connsiteX1" fmla="*/ 1039 w 10000"/>
              <a:gd name="connsiteY1" fmla="*/ 4706 h 10000"/>
              <a:gd name="connsiteX2" fmla="*/ 519 w 10000"/>
              <a:gd name="connsiteY2" fmla="*/ 9149 h 10000"/>
              <a:gd name="connsiteX3" fmla="*/ 0 w 10000"/>
              <a:gd name="connsiteY3" fmla="*/ 4706 h 10000"/>
              <a:gd name="connsiteX4" fmla="*/ 0 w 10000"/>
              <a:gd name="connsiteY4" fmla="*/ 5603 h 10000"/>
              <a:gd name="connsiteX5" fmla="*/ 519 w 10000"/>
              <a:gd name="connsiteY5" fmla="*/ 10000 h 10000"/>
              <a:gd name="connsiteX6" fmla="*/ 1039 w 10000"/>
              <a:gd name="connsiteY6" fmla="*/ 5603 h 10000"/>
              <a:gd name="connsiteX7" fmla="*/ 9338 w 10000"/>
              <a:gd name="connsiteY7" fmla="*/ 5695 h 10000"/>
              <a:gd name="connsiteX8" fmla="*/ 9979 w 10000"/>
              <a:gd name="connsiteY8" fmla="*/ 1256 h 10000"/>
              <a:gd name="connsiteX9" fmla="*/ 9882 w 10000"/>
              <a:gd name="connsiteY9" fmla="*/ 497 h 10000"/>
              <a:gd name="connsiteX10" fmla="*/ 9363 w 10000"/>
              <a:gd name="connsiteY10" fmla="*/ 4722 h 10000"/>
              <a:gd name="connsiteX0" fmla="*/ 9363 w 9903"/>
              <a:gd name="connsiteY0" fmla="*/ 4722 h 10000"/>
              <a:gd name="connsiteX1" fmla="*/ 1039 w 9903"/>
              <a:gd name="connsiteY1" fmla="*/ 4706 h 10000"/>
              <a:gd name="connsiteX2" fmla="*/ 519 w 9903"/>
              <a:gd name="connsiteY2" fmla="*/ 9149 h 10000"/>
              <a:gd name="connsiteX3" fmla="*/ 0 w 9903"/>
              <a:gd name="connsiteY3" fmla="*/ 4706 h 10000"/>
              <a:gd name="connsiteX4" fmla="*/ 0 w 9903"/>
              <a:gd name="connsiteY4" fmla="*/ 5603 h 10000"/>
              <a:gd name="connsiteX5" fmla="*/ 519 w 9903"/>
              <a:gd name="connsiteY5" fmla="*/ 10000 h 10000"/>
              <a:gd name="connsiteX6" fmla="*/ 1039 w 9903"/>
              <a:gd name="connsiteY6" fmla="*/ 5603 h 10000"/>
              <a:gd name="connsiteX7" fmla="*/ 9338 w 9903"/>
              <a:gd name="connsiteY7" fmla="*/ 5695 h 10000"/>
              <a:gd name="connsiteX8" fmla="*/ 9882 w 9903"/>
              <a:gd name="connsiteY8" fmla="*/ 1351 h 10000"/>
              <a:gd name="connsiteX9" fmla="*/ 9882 w 9903"/>
              <a:gd name="connsiteY9" fmla="*/ 497 h 10000"/>
              <a:gd name="connsiteX10" fmla="*/ 9363 w 9903"/>
              <a:gd name="connsiteY10" fmla="*/ 4722 h 10000"/>
              <a:gd name="connsiteX0" fmla="*/ 9455 w 10003"/>
              <a:gd name="connsiteY0" fmla="*/ 4722 h 10000"/>
              <a:gd name="connsiteX1" fmla="*/ 1049 w 10003"/>
              <a:gd name="connsiteY1" fmla="*/ 4706 h 10000"/>
              <a:gd name="connsiteX2" fmla="*/ 524 w 10003"/>
              <a:gd name="connsiteY2" fmla="*/ 9149 h 10000"/>
              <a:gd name="connsiteX3" fmla="*/ 0 w 10003"/>
              <a:gd name="connsiteY3" fmla="*/ 4706 h 10000"/>
              <a:gd name="connsiteX4" fmla="*/ 0 w 10003"/>
              <a:gd name="connsiteY4" fmla="*/ 5603 h 10000"/>
              <a:gd name="connsiteX5" fmla="*/ 524 w 10003"/>
              <a:gd name="connsiteY5" fmla="*/ 10000 h 10000"/>
              <a:gd name="connsiteX6" fmla="*/ 1049 w 10003"/>
              <a:gd name="connsiteY6" fmla="*/ 5603 h 10000"/>
              <a:gd name="connsiteX7" fmla="*/ 9429 w 10003"/>
              <a:gd name="connsiteY7" fmla="*/ 5695 h 10000"/>
              <a:gd name="connsiteX8" fmla="*/ 9979 w 10003"/>
              <a:gd name="connsiteY8" fmla="*/ 1351 h 10000"/>
              <a:gd name="connsiteX9" fmla="*/ 9979 w 10003"/>
              <a:gd name="connsiteY9" fmla="*/ 497 h 10000"/>
              <a:gd name="connsiteX10" fmla="*/ 9455 w 10003"/>
              <a:gd name="connsiteY10" fmla="*/ 4722 h 10000"/>
              <a:gd name="connsiteX0" fmla="*/ 9455 w 10003"/>
              <a:gd name="connsiteY0" fmla="*/ 4722 h 10000"/>
              <a:gd name="connsiteX1" fmla="*/ 1049 w 10003"/>
              <a:gd name="connsiteY1" fmla="*/ 4706 h 10000"/>
              <a:gd name="connsiteX2" fmla="*/ 524 w 10003"/>
              <a:gd name="connsiteY2" fmla="*/ 9149 h 10000"/>
              <a:gd name="connsiteX3" fmla="*/ 0 w 10003"/>
              <a:gd name="connsiteY3" fmla="*/ 4706 h 10000"/>
              <a:gd name="connsiteX4" fmla="*/ 0 w 10003"/>
              <a:gd name="connsiteY4" fmla="*/ 5603 h 10000"/>
              <a:gd name="connsiteX5" fmla="*/ 524 w 10003"/>
              <a:gd name="connsiteY5" fmla="*/ 10000 h 10000"/>
              <a:gd name="connsiteX6" fmla="*/ 1049 w 10003"/>
              <a:gd name="connsiteY6" fmla="*/ 5603 h 10000"/>
              <a:gd name="connsiteX7" fmla="*/ 9429 w 10003"/>
              <a:gd name="connsiteY7" fmla="*/ 5695 h 10000"/>
              <a:gd name="connsiteX8" fmla="*/ 9979 w 10003"/>
              <a:gd name="connsiteY8" fmla="*/ 1351 h 10000"/>
              <a:gd name="connsiteX9" fmla="*/ 9979 w 10003"/>
              <a:gd name="connsiteY9" fmla="*/ 497 h 10000"/>
              <a:gd name="connsiteX10" fmla="*/ 9455 w 10003"/>
              <a:gd name="connsiteY10" fmla="*/ 4722 h 10000"/>
              <a:gd name="connsiteX0" fmla="*/ 9455 w 10003"/>
              <a:gd name="connsiteY0" fmla="*/ 4722 h 10000"/>
              <a:gd name="connsiteX1" fmla="*/ 1049 w 10003"/>
              <a:gd name="connsiteY1" fmla="*/ 4706 h 10000"/>
              <a:gd name="connsiteX2" fmla="*/ 524 w 10003"/>
              <a:gd name="connsiteY2" fmla="*/ 9149 h 10000"/>
              <a:gd name="connsiteX3" fmla="*/ 0 w 10003"/>
              <a:gd name="connsiteY3" fmla="*/ 4706 h 10000"/>
              <a:gd name="connsiteX4" fmla="*/ 0 w 10003"/>
              <a:gd name="connsiteY4" fmla="*/ 5603 h 10000"/>
              <a:gd name="connsiteX5" fmla="*/ 524 w 10003"/>
              <a:gd name="connsiteY5" fmla="*/ 10000 h 10000"/>
              <a:gd name="connsiteX6" fmla="*/ 1049 w 10003"/>
              <a:gd name="connsiteY6" fmla="*/ 5603 h 10000"/>
              <a:gd name="connsiteX7" fmla="*/ 9429 w 10003"/>
              <a:gd name="connsiteY7" fmla="*/ 5695 h 10000"/>
              <a:gd name="connsiteX8" fmla="*/ 9979 w 10003"/>
              <a:gd name="connsiteY8" fmla="*/ 1351 h 10000"/>
              <a:gd name="connsiteX9" fmla="*/ 9979 w 10003"/>
              <a:gd name="connsiteY9" fmla="*/ 497 h 10000"/>
              <a:gd name="connsiteX10" fmla="*/ 9455 w 10003"/>
              <a:gd name="connsiteY10" fmla="*/ 4722 h 10000"/>
              <a:gd name="connsiteX0" fmla="*/ 9455 w 10003"/>
              <a:gd name="connsiteY0" fmla="*/ 4722 h 10000"/>
              <a:gd name="connsiteX1" fmla="*/ 1049 w 10003"/>
              <a:gd name="connsiteY1" fmla="*/ 4706 h 10000"/>
              <a:gd name="connsiteX2" fmla="*/ 524 w 10003"/>
              <a:gd name="connsiteY2" fmla="*/ 9149 h 10000"/>
              <a:gd name="connsiteX3" fmla="*/ 0 w 10003"/>
              <a:gd name="connsiteY3" fmla="*/ 4706 h 10000"/>
              <a:gd name="connsiteX4" fmla="*/ 0 w 10003"/>
              <a:gd name="connsiteY4" fmla="*/ 5603 h 10000"/>
              <a:gd name="connsiteX5" fmla="*/ 524 w 10003"/>
              <a:gd name="connsiteY5" fmla="*/ 10000 h 10000"/>
              <a:gd name="connsiteX6" fmla="*/ 1049 w 10003"/>
              <a:gd name="connsiteY6" fmla="*/ 5603 h 10000"/>
              <a:gd name="connsiteX7" fmla="*/ 9429 w 10003"/>
              <a:gd name="connsiteY7" fmla="*/ 5695 h 10000"/>
              <a:gd name="connsiteX8" fmla="*/ 9979 w 10003"/>
              <a:gd name="connsiteY8" fmla="*/ 1351 h 10000"/>
              <a:gd name="connsiteX9" fmla="*/ 9979 w 10003"/>
              <a:gd name="connsiteY9" fmla="*/ 497 h 10000"/>
              <a:gd name="connsiteX10" fmla="*/ 9455 w 10003"/>
              <a:gd name="connsiteY10" fmla="*/ 4722 h 10000"/>
              <a:gd name="connsiteX0" fmla="*/ 9455 w 10003"/>
              <a:gd name="connsiteY0" fmla="*/ 4722 h 10000"/>
              <a:gd name="connsiteX1" fmla="*/ 1049 w 10003"/>
              <a:gd name="connsiteY1" fmla="*/ 4706 h 10000"/>
              <a:gd name="connsiteX2" fmla="*/ 524 w 10003"/>
              <a:gd name="connsiteY2" fmla="*/ 9149 h 10000"/>
              <a:gd name="connsiteX3" fmla="*/ 0 w 10003"/>
              <a:gd name="connsiteY3" fmla="*/ 4706 h 10000"/>
              <a:gd name="connsiteX4" fmla="*/ 0 w 10003"/>
              <a:gd name="connsiteY4" fmla="*/ 5603 h 10000"/>
              <a:gd name="connsiteX5" fmla="*/ 524 w 10003"/>
              <a:gd name="connsiteY5" fmla="*/ 10000 h 10000"/>
              <a:gd name="connsiteX6" fmla="*/ 1049 w 10003"/>
              <a:gd name="connsiteY6" fmla="*/ 5603 h 10000"/>
              <a:gd name="connsiteX7" fmla="*/ 9429 w 10003"/>
              <a:gd name="connsiteY7" fmla="*/ 5695 h 10000"/>
              <a:gd name="connsiteX8" fmla="*/ 9979 w 10003"/>
              <a:gd name="connsiteY8" fmla="*/ 1351 h 10000"/>
              <a:gd name="connsiteX9" fmla="*/ 9979 w 10003"/>
              <a:gd name="connsiteY9" fmla="*/ 497 h 10000"/>
              <a:gd name="connsiteX10" fmla="*/ 9455 w 10003"/>
              <a:gd name="connsiteY10" fmla="*/ 4722 h 10000"/>
              <a:gd name="connsiteX0" fmla="*/ 9455 w 9982"/>
              <a:gd name="connsiteY0" fmla="*/ 4722 h 10000"/>
              <a:gd name="connsiteX1" fmla="*/ 1049 w 9982"/>
              <a:gd name="connsiteY1" fmla="*/ 4706 h 10000"/>
              <a:gd name="connsiteX2" fmla="*/ 524 w 9982"/>
              <a:gd name="connsiteY2" fmla="*/ 9149 h 10000"/>
              <a:gd name="connsiteX3" fmla="*/ 0 w 9982"/>
              <a:gd name="connsiteY3" fmla="*/ 4706 h 10000"/>
              <a:gd name="connsiteX4" fmla="*/ 0 w 9982"/>
              <a:gd name="connsiteY4" fmla="*/ 5603 h 10000"/>
              <a:gd name="connsiteX5" fmla="*/ 524 w 9982"/>
              <a:gd name="connsiteY5" fmla="*/ 10000 h 10000"/>
              <a:gd name="connsiteX6" fmla="*/ 1049 w 9982"/>
              <a:gd name="connsiteY6" fmla="*/ 5603 h 10000"/>
              <a:gd name="connsiteX7" fmla="*/ 9429 w 9982"/>
              <a:gd name="connsiteY7" fmla="*/ 5695 h 10000"/>
              <a:gd name="connsiteX8" fmla="*/ 9979 w 9982"/>
              <a:gd name="connsiteY8" fmla="*/ 1351 h 10000"/>
              <a:gd name="connsiteX9" fmla="*/ 9979 w 9982"/>
              <a:gd name="connsiteY9" fmla="*/ 497 h 10000"/>
              <a:gd name="connsiteX10" fmla="*/ 9455 w 9982"/>
              <a:gd name="connsiteY10" fmla="*/ 4722 h 10000"/>
              <a:gd name="connsiteX0" fmla="*/ 9472 w 10005"/>
              <a:gd name="connsiteY0" fmla="*/ 4722 h 10000"/>
              <a:gd name="connsiteX1" fmla="*/ 1051 w 10005"/>
              <a:gd name="connsiteY1" fmla="*/ 4706 h 10000"/>
              <a:gd name="connsiteX2" fmla="*/ 525 w 10005"/>
              <a:gd name="connsiteY2" fmla="*/ 9149 h 10000"/>
              <a:gd name="connsiteX3" fmla="*/ 0 w 10005"/>
              <a:gd name="connsiteY3" fmla="*/ 4706 h 10000"/>
              <a:gd name="connsiteX4" fmla="*/ 0 w 10005"/>
              <a:gd name="connsiteY4" fmla="*/ 5603 h 10000"/>
              <a:gd name="connsiteX5" fmla="*/ 525 w 10005"/>
              <a:gd name="connsiteY5" fmla="*/ 10000 h 10000"/>
              <a:gd name="connsiteX6" fmla="*/ 1051 w 10005"/>
              <a:gd name="connsiteY6" fmla="*/ 5603 h 10000"/>
              <a:gd name="connsiteX7" fmla="*/ 9446 w 10005"/>
              <a:gd name="connsiteY7" fmla="*/ 5695 h 10000"/>
              <a:gd name="connsiteX8" fmla="*/ 9997 w 10005"/>
              <a:gd name="connsiteY8" fmla="*/ 1351 h 10000"/>
              <a:gd name="connsiteX9" fmla="*/ 9997 w 10005"/>
              <a:gd name="connsiteY9" fmla="*/ 497 h 10000"/>
              <a:gd name="connsiteX10" fmla="*/ 9472 w 10005"/>
              <a:gd name="connsiteY10" fmla="*/ 4722 h 10000"/>
              <a:gd name="connsiteX0" fmla="*/ 9472 w 9997"/>
              <a:gd name="connsiteY0" fmla="*/ 4722 h 10000"/>
              <a:gd name="connsiteX1" fmla="*/ 1051 w 9997"/>
              <a:gd name="connsiteY1" fmla="*/ 4706 h 10000"/>
              <a:gd name="connsiteX2" fmla="*/ 525 w 9997"/>
              <a:gd name="connsiteY2" fmla="*/ 9149 h 10000"/>
              <a:gd name="connsiteX3" fmla="*/ 0 w 9997"/>
              <a:gd name="connsiteY3" fmla="*/ 4706 h 10000"/>
              <a:gd name="connsiteX4" fmla="*/ 0 w 9997"/>
              <a:gd name="connsiteY4" fmla="*/ 5603 h 10000"/>
              <a:gd name="connsiteX5" fmla="*/ 525 w 9997"/>
              <a:gd name="connsiteY5" fmla="*/ 10000 h 10000"/>
              <a:gd name="connsiteX6" fmla="*/ 1051 w 9997"/>
              <a:gd name="connsiteY6" fmla="*/ 5603 h 10000"/>
              <a:gd name="connsiteX7" fmla="*/ 9446 w 9997"/>
              <a:gd name="connsiteY7" fmla="*/ 5695 h 10000"/>
              <a:gd name="connsiteX8" fmla="*/ 9942 w 9997"/>
              <a:gd name="connsiteY8" fmla="*/ 1985 h 10000"/>
              <a:gd name="connsiteX9" fmla="*/ 9997 w 9997"/>
              <a:gd name="connsiteY9" fmla="*/ 497 h 10000"/>
              <a:gd name="connsiteX10" fmla="*/ 9472 w 9997"/>
              <a:gd name="connsiteY10" fmla="*/ 4722 h 10000"/>
              <a:gd name="connsiteX0" fmla="*/ 9475 w 10008"/>
              <a:gd name="connsiteY0" fmla="*/ 4722 h 10000"/>
              <a:gd name="connsiteX1" fmla="*/ 1051 w 10008"/>
              <a:gd name="connsiteY1" fmla="*/ 4706 h 10000"/>
              <a:gd name="connsiteX2" fmla="*/ 525 w 10008"/>
              <a:gd name="connsiteY2" fmla="*/ 9149 h 10000"/>
              <a:gd name="connsiteX3" fmla="*/ 0 w 10008"/>
              <a:gd name="connsiteY3" fmla="*/ 4706 h 10000"/>
              <a:gd name="connsiteX4" fmla="*/ 0 w 10008"/>
              <a:gd name="connsiteY4" fmla="*/ 5603 h 10000"/>
              <a:gd name="connsiteX5" fmla="*/ 525 w 10008"/>
              <a:gd name="connsiteY5" fmla="*/ 10000 h 10000"/>
              <a:gd name="connsiteX6" fmla="*/ 1051 w 10008"/>
              <a:gd name="connsiteY6" fmla="*/ 5603 h 10000"/>
              <a:gd name="connsiteX7" fmla="*/ 9449 w 10008"/>
              <a:gd name="connsiteY7" fmla="*/ 5695 h 10000"/>
              <a:gd name="connsiteX8" fmla="*/ 10000 w 10008"/>
              <a:gd name="connsiteY8" fmla="*/ 1319 h 10000"/>
              <a:gd name="connsiteX9" fmla="*/ 10000 w 10008"/>
              <a:gd name="connsiteY9" fmla="*/ 497 h 10000"/>
              <a:gd name="connsiteX10" fmla="*/ 9475 w 10008"/>
              <a:gd name="connsiteY10" fmla="*/ 4722 h 10000"/>
              <a:gd name="connsiteX0" fmla="*/ 9475 w 10008"/>
              <a:gd name="connsiteY0" fmla="*/ 4722 h 10000"/>
              <a:gd name="connsiteX1" fmla="*/ 1051 w 10008"/>
              <a:gd name="connsiteY1" fmla="*/ 4706 h 10000"/>
              <a:gd name="connsiteX2" fmla="*/ 525 w 10008"/>
              <a:gd name="connsiteY2" fmla="*/ 9149 h 10000"/>
              <a:gd name="connsiteX3" fmla="*/ 0 w 10008"/>
              <a:gd name="connsiteY3" fmla="*/ 4706 h 10000"/>
              <a:gd name="connsiteX4" fmla="*/ 0 w 10008"/>
              <a:gd name="connsiteY4" fmla="*/ 5603 h 10000"/>
              <a:gd name="connsiteX5" fmla="*/ 525 w 10008"/>
              <a:gd name="connsiteY5" fmla="*/ 10000 h 10000"/>
              <a:gd name="connsiteX6" fmla="*/ 1051 w 10008"/>
              <a:gd name="connsiteY6" fmla="*/ 5603 h 10000"/>
              <a:gd name="connsiteX7" fmla="*/ 9449 w 10008"/>
              <a:gd name="connsiteY7" fmla="*/ 5695 h 10000"/>
              <a:gd name="connsiteX8" fmla="*/ 10000 w 10008"/>
              <a:gd name="connsiteY8" fmla="*/ 1224 h 10000"/>
              <a:gd name="connsiteX9" fmla="*/ 10000 w 10008"/>
              <a:gd name="connsiteY9" fmla="*/ 497 h 10000"/>
              <a:gd name="connsiteX10" fmla="*/ 9475 w 10008"/>
              <a:gd name="connsiteY10" fmla="*/ 4722 h 10000"/>
              <a:gd name="connsiteX0" fmla="*/ 9475 w 10008"/>
              <a:gd name="connsiteY0" fmla="*/ 4722 h 10000"/>
              <a:gd name="connsiteX1" fmla="*/ 1051 w 10008"/>
              <a:gd name="connsiteY1" fmla="*/ 4706 h 10000"/>
              <a:gd name="connsiteX2" fmla="*/ 525 w 10008"/>
              <a:gd name="connsiteY2" fmla="*/ 9149 h 10000"/>
              <a:gd name="connsiteX3" fmla="*/ 0 w 10008"/>
              <a:gd name="connsiteY3" fmla="*/ 4706 h 10000"/>
              <a:gd name="connsiteX4" fmla="*/ 0 w 10008"/>
              <a:gd name="connsiteY4" fmla="*/ 5603 h 10000"/>
              <a:gd name="connsiteX5" fmla="*/ 525 w 10008"/>
              <a:gd name="connsiteY5" fmla="*/ 10000 h 10000"/>
              <a:gd name="connsiteX6" fmla="*/ 1051 w 10008"/>
              <a:gd name="connsiteY6" fmla="*/ 5603 h 10000"/>
              <a:gd name="connsiteX7" fmla="*/ 9449 w 10008"/>
              <a:gd name="connsiteY7" fmla="*/ 5695 h 10000"/>
              <a:gd name="connsiteX8" fmla="*/ 10000 w 10008"/>
              <a:gd name="connsiteY8" fmla="*/ 1224 h 10000"/>
              <a:gd name="connsiteX9" fmla="*/ 10000 w 10008"/>
              <a:gd name="connsiteY9" fmla="*/ 497 h 10000"/>
              <a:gd name="connsiteX10" fmla="*/ 9475 w 10008"/>
              <a:gd name="connsiteY10" fmla="*/ 4722 h 10000"/>
              <a:gd name="connsiteX0" fmla="*/ 9475 w 10008"/>
              <a:gd name="connsiteY0" fmla="*/ 4722 h 10000"/>
              <a:gd name="connsiteX1" fmla="*/ 1051 w 10008"/>
              <a:gd name="connsiteY1" fmla="*/ 4706 h 10000"/>
              <a:gd name="connsiteX2" fmla="*/ 525 w 10008"/>
              <a:gd name="connsiteY2" fmla="*/ 9149 h 10000"/>
              <a:gd name="connsiteX3" fmla="*/ 0 w 10008"/>
              <a:gd name="connsiteY3" fmla="*/ 4706 h 10000"/>
              <a:gd name="connsiteX4" fmla="*/ 0 w 10008"/>
              <a:gd name="connsiteY4" fmla="*/ 5603 h 10000"/>
              <a:gd name="connsiteX5" fmla="*/ 525 w 10008"/>
              <a:gd name="connsiteY5" fmla="*/ 10000 h 10000"/>
              <a:gd name="connsiteX6" fmla="*/ 1051 w 10008"/>
              <a:gd name="connsiteY6" fmla="*/ 5603 h 10000"/>
              <a:gd name="connsiteX7" fmla="*/ 9449 w 10008"/>
              <a:gd name="connsiteY7" fmla="*/ 5695 h 10000"/>
              <a:gd name="connsiteX8" fmla="*/ 10000 w 10008"/>
              <a:gd name="connsiteY8" fmla="*/ 1224 h 10000"/>
              <a:gd name="connsiteX9" fmla="*/ 10000 w 10008"/>
              <a:gd name="connsiteY9" fmla="*/ 497 h 10000"/>
              <a:gd name="connsiteX10" fmla="*/ 9475 w 10008"/>
              <a:gd name="connsiteY10" fmla="*/ 4722 h 10000"/>
              <a:gd name="connsiteX0" fmla="*/ 9475 w 10008"/>
              <a:gd name="connsiteY0" fmla="*/ 4722 h 10000"/>
              <a:gd name="connsiteX1" fmla="*/ 1051 w 10008"/>
              <a:gd name="connsiteY1" fmla="*/ 4706 h 10000"/>
              <a:gd name="connsiteX2" fmla="*/ 525 w 10008"/>
              <a:gd name="connsiteY2" fmla="*/ 9149 h 10000"/>
              <a:gd name="connsiteX3" fmla="*/ 0 w 10008"/>
              <a:gd name="connsiteY3" fmla="*/ 4706 h 10000"/>
              <a:gd name="connsiteX4" fmla="*/ 0 w 10008"/>
              <a:gd name="connsiteY4" fmla="*/ 5603 h 10000"/>
              <a:gd name="connsiteX5" fmla="*/ 525 w 10008"/>
              <a:gd name="connsiteY5" fmla="*/ 10000 h 10000"/>
              <a:gd name="connsiteX6" fmla="*/ 1051 w 10008"/>
              <a:gd name="connsiteY6" fmla="*/ 5603 h 10000"/>
              <a:gd name="connsiteX7" fmla="*/ 9449 w 10008"/>
              <a:gd name="connsiteY7" fmla="*/ 5695 h 10000"/>
              <a:gd name="connsiteX8" fmla="*/ 10000 w 10008"/>
              <a:gd name="connsiteY8" fmla="*/ 1224 h 10000"/>
              <a:gd name="connsiteX9" fmla="*/ 10000 w 10008"/>
              <a:gd name="connsiteY9" fmla="*/ 497 h 10000"/>
              <a:gd name="connsiteX10" fmla="*/ 9475 w 10008"/>
              <a:gd name="connsiteY10" fmla="*/ 4722 h 10000"/>
              <a:gd name="connsiteX0" fmla="*/ 9475 w 10008"/>
              <a:gd name="connsiteY0" fmla="*/ 4722 h 10000"/>
              <a:gd name="connsiteX1" fmla="*/ 1051 w 10008"/>
              <a:gd name="connsiteY1" fmla="*/ 4706 h 10000"/>
              <a:gd name="connsiteX2" fmla="*/ 525 w 10008"/>
              <a:gd name="connsiteY2" fmla="*/ 9149 h 10000"/>
              <a:gd name="connsiteX3" fmla="*/ 0 w 10008"/>
              <a:gd name="connsiteY3" fmla="*/ 4706 h 10000"/>
              <a:gd name="connsiteX4" fmla="*/ 0 w 10008"/>
              <a:gd name="connsiteY4" fmla="*/ 5603 h 10000"/>
              <a:gd name="connsiteX5" fmla="*/ 525 w 10008"/>
              <a:gd name="connsiteY5" fmla="*/ 10000 h 10000"/>
              <a:gd name="connsiteX6" fmla="*/ 1051 w 10008"/>
              <a:gd name="connsiteY6" fmla="*/ 5603 h 10000"/>
              <a:gd name="connsiteX7" fmla="*/ 9449 w 10008"/>
              <a:gd name="connsiteY7" fmla="*/ 5695 h 10000"/>
              <a:gd name="connsiteX8" fmla="*/ 10000 w 10008"/>
              <a:gd name="connsiteY8" fmla="*/ 1224 h 10000"/>
              <a:gd name="connsiteX9" fmla="*/ 10000 w 10008"/>
              <a:gd name="connsiteY9" fmla="*/ 497 h 10000"/>
              <a:gd name="connsiteX10" fmla="*/ 9475 w 10008"/>
              <a:gd name="connsiteY10" fmla="*/ 4722 h 10000"/>
              <a:gd name="connsiteX0" fmla="*/ 9475 w 10008"/>
              <a:gd name="connsiteY0" fmla="*/ 4722 h 10000"/>
              <a:gd name="connsiteX1" fmla="*/ 1051 w 10008"/>
              <a:gd name="connsiteY1" fmla="*/ 4706 h 10000"/>
              <a:gd name="connsiteX2" fmla="*/ 525 w 10008"/>
              <a:gd name="connsiteY2" fmla="*/ 9149 h 10000"/>
              <a:gd name="connsiteX3" fmla="*/ 0 w 10008"/>
              <a:gd name="connsiteY3" fmla="*/ 4706 h 10000"/>
              <a:gd name="connsiteX4" fmla="*/ 0 w 10008"/>
              <a:gd name="connsiteY4" fmla="*/ 5603 h 10000"/>
              <a:gd name="connsiteX5" fmla="*/ 525 w 10008"/>
              <a:gd name="connsiteY5" fmla="*/ 10000 h 10000"/>
              <a:gd name="connsiteX6" fmla="*/ 1051 w 10008"/>
              <a:gd name="connsiteY6" fmla="*/ 5603 h 10000"/>
              <a:gd name="connsiteX7" fmla="*/ 9449 w 10008"/>
              <a:gd name="connsiteY7" fmla="*/ 5695 h 10000"/>
              <a:gd name="connsiteX8" fmla="*/ 10000 w 10008"/>
              <a:gd name="connsiteY8" fmla="*/ 1224 h 10000"/>
              <a:gd name="connsiteX9" fmla="*/ 10000 w 10008"/>
              <a:gd name="connsiteY9" fmla="*/ 497 h 10000"/>
              <a:gd name="connsiteX10" fmla="*/ 9475 w 10008"/>
              <a:gd name="connsiteY10" fmla="*/ 4722 h 10000"/>
              <a:gd name="connsiteX0" fmla="*/ 9475 w 10008"/>
              <a:gd name="connsiteY0" fmla="*/ 4722 h 10000"/>
              <a:gd name="connsiteX1" fmla="*/ 1051 w 10008"/>
              <a:gd name="connsiteY1" fmla="*/ 4706 h 10000"/>
              <a:gd name="connsiteX2" fmla="*/ 525 w 10008"/>
              <a:gd name="connsiteY2" fmla="*/ 9149 h 10000"/>
              <a:gd name="connsiteX3" fmla="*/ 0 w 10008"/>
              <a:gd name="connsiteY3" fmla="*/ 4706 h 10000"/>
              <a:gd name="connsiteX4" fmla="*/ 0 w 10008"/>
              <a:gd name="connsiteY4" fmla="*/ 5603 h 10000"/>
              <a:gd name="connsiteX5" fmla="*/ 525 w 10008"/>
              <a:gd name="connsiteY5" fmla="*/ 10000 h 10000"/>
              <a:gd name="connsiteX6" fmla="*/ 1051 w 10008"/>
              <a:gd name="connsiteY6" fmla="*/ 5603 h 10000"/>
              <a:gd name="connsiteX7" fmla="*/ 9449 w 10008"/>
              <a:gd name="connsiteY7" fmla="*/ 5695 h 10000"/>
              <a:gd name="connsiteX8" fmla="*/ 10000 w 10008"/>
              <a:gd name="connsiteY8" fmla="*/ 1224 h 10000"/>
              <a:gd name="connsiteX9" fmla="*/ 10000 w 10008"/>
              <a:gd name="connsiteY9" fmla="*/ 497 h 10000"/>
              <a:gd name="connsiteX10" fmla="*/ 9475 w 10008"/>
              <a:gd name="connsiteY10" fmla="*/ 4722 h 10000"/>
              <a:gd name="connsiteX0" fmla="*/ 9475 w 10898"/>
              <a:gd name="connsiteY0" fmla="*/ 4722 h 10000"/>
              <a:gd name="connsiteX1" fmla="*/ 1051 w 10898"/>
              <a:gd name="connsiteY1" fmla="*/ 4706 h 10000"/>
              <a:gd name="connsiteX2" fmla="*/ 525 w 10898"/>
              <a:gd name="connsiteY2" fmla="*/ 9149 h 10000"/>
              <a:gd name="connsiteX3" fmla="*/ 0 w 10898"/>
              <a:gd name="connsiteY3" fmla="*/ 4706 h 10000"/>
              <a:gd name="connsiteX4" fmla="*/ 0 w 10898"/>
              <a:gd name="connsiteY4" fmla="*/ 5603 h 10000"/>
              <a:gd name="connsiteX5" fmla="*/ 525 w 10898"/>
              <a:gd name="connsiteY5" fmla="*/ 10000 h 10000"/>
              <a:gd name="connsiteX6" fmla="*/ 1051 w 10898"/>
              <a:gd name="connsiteY6" fmla="*/ 5603 h 10000"/>
              <a:gd name="connsiteX7" fmla="*/ 9449 w 10898"/>
              <a:gd name="connsiteY7" fmla="*/ 5695 h 10000"/>
              <a:gd name="connsiteX8" fmla="*/ 9745 w 10898"/>
              <a:gd name="connsiteY8" fmla="*/ 4814 h 10000"/>
              <a:gd name="connsiteX9" fmla="*/ 10000 w 10898"/>
              <a:gd name="connsiteY9" fmla="*/ 1224 h 10000"/>
              <a:gd name="connsiteX10" fmla="*/ 10000 w 10898"/>
              <a:gd name="connsiteY10" fmla="*/ 497 h 10000"/>
              <a:gd name="connsiteX11" fmla="*/ 9475 w 10898"/>
              <a:gd name="connsiteY11" fmla="*/ 4722 h 10000"/>
              <a:gd name="connsiteX0" fmla="*/ 9475 w 10008"/>
              <a:gd name="connsiteY0" fmla="*/ 4722 h 10000"/>
              <a:gd name="connsiteX1" fmla="*/ 1051 w 10008"/>
              <a:gd name="connsiteY1" fmla="*/ 4706 h 10000"/>
              <a:gd name="connsiteX2" fmla="*/ 525 w 10008"/>
              <a:gd name="connsiteY2" fmla="*/ 9149 h 10000"/>
              <a:gd name="connsiteX3" fmla="*/ 0 w 10008"/>
              <a:gd name="connsiteY3" fmla="*/ 4706 h 10000"/>
              <a:gd name="connsiteX4" fmla="*/ 0 w 10008"/>
              <a:gd name="connsiteY4" fmla="*/ 5603 h 10000"/>
              <a:gd name="connsiteX5" fmla="*/ 525 w 10008"/>
              <a:gd name="connsiteY5" fmla="*/ 10000 h 10000"/>
              <a:gd name="connsiteX6" fmla="*/ 1051 w 10008"/>
              <a:gd name="connsiteY6" fmla="*/ 5603 h 10000"/>
              <a:gd name="connsiteX7" fmla="*/ 9449 w 10008"/>
              <a:gd name="connsiteY7" fmla="*/ 5695 h 10000"/>
              <a:gd name="connsiteX8" fmla="*/ 9745 w 10008"/>
              <a:gd name="connsiteY8" fmla="*/ 4814 h 10000"/>
              <a:gd name="connsiteX9" fmla="*/ 10000 w 10008"/>
              <a:gd name="connsiteY9" fmla="*/ 1224 h 10000"/>
              <a:gd name="connsiteX10" fmla="*/ 10000 w 10008"/>
              <a:gd name="connsiteY10" fmla="*/ 497 h 10000"/>
              <a:gd name="connsiteX11" fmla="*/ 9475 w 10008"/>
              <a:gd name="connsiteY11" fmla="*/ 4722 h 10000"/>
              <a:gd name="connsiteX0" fmla="*/ 9475 w 10008"/>
              <a:gd name="connsiteY0" fmla="*/ 4722 h 10000"/>
              <a:gd name="connsiteX1" fmla="*/ 1051 w 10008"/>
              <a:gd name="connsiteY1" fmla="*/ 4706 h 10000"/>
              <a:gd name="connsiteX2" fmla="*/ 525 w 10008"/>
              <a:gd name="connsiteY2" fmla="*/ 9149 h 10000"/>
              <a:gd name="connsiteX3" fmla="*/ 0 w 10008"/>
              <a:gd name="connsiteY3" fmla="*/ 4706 h 10000"/>
              <a:gd name="connsiteX4" fmla="*/ 0 w 10008"/>
              <a:gd name="connsiteY4" fmla="*/ 5603 h 10000"/>
              <a:gd name="connsiteX5" fmla="*/ 525 w 10008"/>
              <a:gd name="connsiteY5" fmla="*/ 10000 h 10000"/>
              <a:gd name="connsiteX6" fmla="*/ 1051 w 10008"/>
              <a:gd name="connsiteY6" fmla="*/ 5603 h 10000"/>
              <a:gd name="connsiteX7" fmla="*/ 9449 w 10008"/>
              <a:gd name="connsiteY7" fmla="*/ 5695 h 10000"/>
              <a:gd name="connsiteX8" fmla="*/ 9745 w 10008"/>
              <a:gd name="connsiteY8" fmla="*/ 4814 h 10000"/>
              <a:gd name="connsiteX9" fmla="*/ 10000 w 10008"/>
              <a:gd name="connsiteY9" fmla="*/ 1224 h 10000"/>
              <a:gd name="connsiteX10" fmla="*/ 10000 w 10008"/>
              <a:gd name="connsiteY10" fmla="*/ 497 h 10000"/>
              <a:gd name="connsiteX11" fmla="*/ 9475 w 10008"/>
              <a:gd name="connsiteY11" fmla="*/ 4722 h 10000"/>
              <a:gd name="connsiteX0" fmla="*/ 9475 w 10008"/>
              <a:gd name="connsiteY0" fmla="*/ 4722 h 10000"/>
              <a:gd name="connsiteX1" fmla="*/ 1051 w 10008"/>
              <a:gd name="connsiteY1" fmla="*/ 4706 h 10000"/>
              <a:gd name="connsiteX2" fmla="*/ 525 w 10008"/>
              <a:gd name="connsiteY2" fmla="*/ 9149 h 10000"/>
              <a:gd name="connsiteX3" fmla="*/ 0 w 10008"/>
              <a:gd name="connsiteY3" fmla="*/ 4706 h 10000"/>
              <a:gd name="connsiteX4" fmla="*/ 0 w 10008"/>
              <a:gd name="connsiteY4" fmla="*/ 5603 h 10000"/>
              <a:gd name="connsiteX5" fmla="*/ 525 w 10008"/>
              <a:gd name="connsiteY5" fmla="*/ 10000 h 10000"/>
              <a:gd name="connsiteX6" fmla="*/ 1051 w 10008"/>
              <a:gd name="connsiteY6" fmla="*/ 5603 h 10000"/>
              <a:gd name="connsiteX7" fmla="*/ 9449 w 10008"/>
              <a:gd name="connsiteY7" fmla="*/ 5695 h 10000"/>
              <a:gd name="connsiteX8" fmla="*/ 9745 w 10008"/>
              <a:gd name="connsiteY8" fmla="*/ 4814 h 10000"/>
              <a:gd name="connsiteX9" fmla="*/ 10000 w 10008"/>
              <a:gd name="connsiteY9" fmla="*/ 1224 h 10000"/>
              <a:gd name="connsiteX10" fmla="*/ 10000 w 10008"/>
              <a:gd name="connsiteY10" fmla="*/ 497 h 10000"/>
              <a:gd name="connsiteX11" fmla="*/ 9475 w 10008"/>
              <a:gd name="connsiteY11" fmla="*/ 4722 h 10000"/>
              <a:gd name="connsiteX0" fmla="*/ 9475 w 10923"/>
              <a:gd name="connsiteY0" fmla="*/ 4722 h 10000"/>
              <a:gd name="connsiteX1" fmla="*/ 1051 w 10923"/>
              <a:gd name="connsiteY1" fmla="*/ 4706 h 10000"/>
              <a:gd name="connsiteX2" fmla="*/ 525 w 10923"/>
              <a:gd name="connsiteY2" fmla="*/ 9149 h 10000"/>
              <a:gd name="connsiteX3" fmla="*/ 0 w 10923"/>
              <a:gd name="connsiteY3" fmla="*/ 4706 h 10000"/>
              <a:gd name="connsiteX4" fmla="*/ 0 w 10923"/>
              <a:gd name="connsiteY4" fmla="*/ 5603 h 10000"/>
              <a:gd name="connsiteX5" fmla="*/ 525 w 10923"/>
              <a:gd name="connsiteY5" fmla="*/ 10000 h 10000"/>
              <a:gd name="connsiteX6" fmla="*/ 1051 w 10923"/>
              <a:gd name="connsiteY6" fmla="*/ 5603 h 10000"/>
              <a:gd name="connsiteX7" fmla="*/ 9449 w 10923"/>
              <a:gd name="connsiteY7" fmla="*/ 5695 h 10000"/>
              <a:gd name="connsiteX8" fmla="*/ 9745 w 10923"/>
              <a:gd name="connsiteY8" fmla="*/ 4814 h 10000"/>
              <a:gd name="connsiteX9" fmla="*/ 10000 w 10923"/>
              <a:gd name="connsiteY9" fmla="*/ 1224 h 10000"/>
              <a:gd name="connsiteX10" fmla="*/ 10000 w 10923"/>
              <a:gd name="connsiteY10" fmla="*/ 497 h 10000"/>
              <a:gd name="connsiteX11" fmla="*/ 9740 w 10923"/>
              <a:gd name="connsiteY11" fmla="*/ 3921 h 10000"/>
              <a:gd name="connsiteX12" fmla="*/ 9475 w 10923"/>
              <a:gd name="connsiteY12" fmla="*/ 4722 h 10000"/>
              <a:gd name="connsiteX0" fmla="*/ 9475 w 10008"/>
              <a:gd name="connsiteY0" fmla="*/ 4722 h 10000"/>
              <a:gd name="connsiteX1" fmla="*/ 1051 w 10008"/>
              <a:gd name="connsiteY1" fmla="*/ 4706 h 10000"/>
              <a:gd name="connsiteX2" fmla="*/ 525 w 10008"/>
              <a:gd name="connsiteY2" fmla="*/ 9149 h 10000"/>
              <a:gd name="connsiteX3" fmla="*/ 0 w 10008"/>
              <a:gd name="connsiteY3" fmla="*/ 4706 h 10000"/>
              <a:gd name="connsiteX4" fmla="*/ 0 w 10008"/>
              <a:gd name="connsiteY4" fmla="*/ 5603 h 10000"/>
              <a:gd name="connsiteX5" fmla="*/ 525 w 10008"/>
              <a:gd name="connsiteY5" fmla="*/ 10000 h 10000"/>
              <a:gd name="connsiteX6" fmla="*/ 1051 w 10008"/>
              <a:gd name="connsiteY6" fmla="*/ 5603 h 10000"/>
              <a:gd name="connsiteX7" fmla="*/ 9449 w 10008"/>
              <a:gd name="connsiteY7" fmla="*/ 5695 h 10000"/>
              <a:gd name="connsiteX8" fmla="*/ 9745 w 10008"/>
              <a:gd name="connsiteY8" fmla="*/ 4814 h 10000"/>
              <a:gd name="connsiteX9" fmla="*/ 10000 w 10008"/>
              <a:gd name="connsiteY9" fmla="*/ 1224 h 10000"/>
              <a:gd name="connsiteX10" fmla="*/ 10000 w 10008"/>
              <a:gd name="connsiteY10" fmla="*/ 497 h 10000"/>
              <a:gd name="connsiteX11" fmla="*/ 9740 w 10008"/>
              <a:gd name="connsiteY11" fmla="*/ 3921 h 10000"/>
              <a:gd name="connsiteX12" fmla="*/ 9475 w 10008"/>
              <a:gd name="connsiteY12" fmla="*/ 4722 h 10000"/>
              <a:gd name="connsiteX0" fmla="*/ 9475 w 10008"/>
              <a:gd name="connsiteY0" fmla="*/ 4722 h 10000"/>
              <a:gd name="connsiteX1" fmla="*/ 1051 w 10008"/>
              <a:gd name="connsiteY1" fmla="*/ 4706 h 10000"/>
              <a:gd name="connsiteX2" fmla="*/ 525 w 10008"/>
              <a:gd name="connsiteY2" fmla="*/ 9149 h 10000"/>
              <a:gd name="connsiteX3" fmla="*/ 0 w 10008"/>
              <a:gd name="connsiteY3" fmla="*/ 4706 h 10000"/>
              <a:gd name="connsiteX4" fmla="*/ 0 w 10008"/>
              <a:gd name="connsiteY4" fmla="*/ 5603 h 10000"/>
              <a:gd name="connsiteX5" fmla="*/ 525 w 10008"/>
              <a:gd name="connsiteY5" fmla="*/ 10000 h 10000"/>
              <a:gd name="connsiteX6" fmla="*/ 1051 w 10008"/>
              <a:gd name="connsiteY6" fmla="*/ 5603 h 10000"/>
              <a:gd name="connsiteX7" fmla="*/ 9449 w 10008"/>
              <a:gd name="connsiteY7" fmla="*/ 5695 h 10000"/>
              <a:gd name="connsiteX8" fmla="*/ 9745 w 10008"/>
              <a:gd name="connsiteY8" fmla="*/ 4814 h 10000"/>
              <a:gd name="connsiteX9" fmla="*/ 10000 w 10008"/>
              <a:gd name="connsiteY9" fmla="*/ 1224 h 10000"/>
              <a:gd name="connsiteX10" fmla="*/ 10000 w 10008"/>
              <a:gd name="connsiteY10" fmla="*/ 497 h 10000"/>
              <a:gd name="connsiteX11" fmla="*/ 9740 w 10008"/>
              <a:gd name="connsiteY11" fmla="*/ 3921 h 10000"/>
              <a:gd name="connsiteX12" fmla="*/ 9475 w 10008"/>
              <a:gd name="connsiteY12" fmla="*/ 4722 h 10000"/>
              <a:gd name="connsiteX0" fmla="*/ 9475 w 10008"/>
              <a:gd name="connsiteY0" fmla="*/ 4722 h 10000"/>
              <a:gd name="connsiteX1" fmla="*/ 1051 w 10008"/>
              <a:gd name="connsiteY1" fmla="*/ 4706 h 10000"/>
              <a:gd name="connsiteX2" fmla="*/ 525 w 10008"/>
              <a:gd name="connsiteY2" fmla="*/ 9149 h 10000"/>
              <a:gd name="connsiteX3" fmla="*/ 0 w 10008"/>
              <a:gd name="connsiteY3" fmla="*/ 4706 h 10000"/>
              <a:gd name="connsiteX4" fmla="*/ 0 w 10008"/>
              <a:gd name="connsiteY4" fmla="*/ 5603 h 10000"/>
              <a:gd name="connsiteX5" fmla="*/ 525 w 10008"/>
              <a:gd name="connsiteY5" fmla="*/ 10000 h 10000"/>
              <a:gd name="connsiteX6" fmla="*/ 1051 w 10008"/>
              <a:gd name="connsiteY6" fmla="*/ 5603 h 10000"/>
              <a:gd name="connsiteX7" fmla="*/ 9449 w 10008"/>
              <a:gd name="connsiteY7" fmla="*/ 5695 h 10000"/>
              <a:gd name="connsiteX8" fmla="*/ 9745 w 10008"/>
              <a:gd name="connsiteY8" fmla="*/ 4814 h 10000"/>
              <a:gd name="connsiteX9" fmla="*/ 10000 w 10008"/>
              <a:gd name="connsiteY9" fmla="*/ 1224 h 10000"/>
              <a:gd name="connsiteX10" fmla="*/ 10000 w 10008"/>
              <a:gd name="connsiteY10" fmla="*/ 497 h 10000"/>
              <a:gd name="connsiteX11" fmla="*/ 9740 w 10008"/>
              <a:gd name="connsiteY11" fmla="*/ 3921 h 10000"/>
              <a:gd name="connsiteX12" fmla="*/ 9475 w 10008"/>
              <a:gd name="connsiteY12" fmla="*/ 4722 h 10000"/>
              <a:gd name="connsiteX0" fmla="*/ 9475 w 10008"/>
              <a:gd name="connsiteY0" fmla="*/ 4722 h 10000"/>
              <a:gd name="connsiteX1" fmla="*/ 1051 w 10008"/>
              <a:gd name="connsiteY1" fmla="*/ 4706 h 10000"/>
              <a:gd name="connsiteX2" fmla="*/ 525 w 10008"/>
              <a:gd name="connsiteY2" fmla="*/ 9149 h 10000"/>
              <a:gd name="connsiteX3" fmla="*/ 0 w 10008"/>
              <a:gd name="connsiteY3" fmla="*/ 4706 h 10000"/>
              <a:gd name="connsiteX4" fmla="*/ 0 w 10008"/>
              <a:gd name="connsiteY4" fmla="*/ 5603 h 10000"/>
              <a:gd name="connsiteX5" fmla="*/ 525 w 10008"/>
              <a:gd name="connsiteY5" fmla="*/ 10000 h 10000"/>
              <a:gd name="connsiteX6" fmla="*/ 1051 w 10008"/>
              <a:gd name="connsiteY6" fmla="*/ 5603 h 10000"/>
              <a:gd name="connsiteX7" fmla="*/ 9449 w 10008"/>
              <a:gd name="connsiteY7" fmla="*/ 5695 h 10000"/>
              <a:gd name="connsiteX8" fmla="*/ 9745 w 10008"/>
              <a:gd name="connsiteY8" fmla="*/ 4814 h 10000"/>
              <a:gd name="connsiteX9" fmla="*/ 10000 w 10008"/>
              <a:gd name="connsiteY9" fmla="*/ 1224 h 10000"/>
              <a:gd name="connsiteX10" fmla="*/ 10000 w 10008"/>
              <a:gd name="connsiteY10" fmla="*/ 497 h 10000"/>
              <a:gd name="connsiteX11" fmla="*/ 9740 w 10008"/>
              <a:gd name="connsiteY11" fmla="*/ 3921 h 10000"/>
              <a:gd name="connsiteX12" fmla="*/ 9475 w 10008"/>
              <a:gd name="connsiteY12" fmla="*/ 4722 h 10000"/>
              <a:gd name="connsiteX0" fmla="*/ 9475 w 10001"/>
              <a:gd name="connsiteY0" fmla="*/ 4374 h 9652"/>
              <a:gd name="connsiteX1" fmla="*/ 1051 w 10001"/>
              <a:gd name="connsiteY1" fmla="*/ 4358 h 9652"/>
              <a:gd name="connsiteX2" fmla="*/ 525 w 10001"/>
              <a:gd name="connsiteY2" fmla="*/ 8801 h 9652"/>
              <a:gd name="connsiteX3" fmla="*/ 0 w 10001"/>
              <a:gd name="connsiteY3" fmla="*/ 4358 h 9652"/>
              <a:gd name="connsiteX4" fmla="*/ 0 w 10001"/>
              <a:gd name="connsiteY4" fmla="*/ 5255 h 9652"/>
              <a:gd name="connsiteX5" fmla="*/ 525 w 10001"/>
              <a:gd name="connsiteY5" fmla="*/ 9652 h 9652"/>
              <a:gd name="connsiteX6" fmla="*/ 1051 w 10001"/>
              <a:gd name="connsiteY6" fmla="*/ 5255 h 9652"/>
              <a:gd name="connsiteX7" fmla="*/ 9449 w 10001"/>
              <a:gd name="connsiteY7" fmla="*/ 5347 h 9652"/>
              <a:gd name="connsiteX8" fmla="*/ 9745 w 10001"/>
              <a:gd name="connsiteY8" fmla="*/ 4466 h 9652"/>
              <a:gd name="connsiteX9" fmla="*/ 10000 w 10001"/>
              <a:gd name="connsiteY9" fmla="*/ 149 h 9652"/>
              <a:gd name="connsiteX10" fmla="*/ 9740 w 10001"/>
              <a:gd name="connsiteY10" fmla="*/ 3573 h 9652"/>
              <a:gd name="connsiteX11" fmla="*/ 9475 w 10001"/>
              <a:gd name="connsiteY11" fmla="*/ 4374 h 9652"/>
              <a:gd name="connsiteX0" fmla="*/ 9474 w 9792"/>
              <a:gd name="connsiteY0" fmla="*/ 830 h 6298"/>
              <a:gd name="connsiteX1" fmla="*/ 1051 w 9792"/>
              <a:gd name="connsiteY1" fmla="*/ 813 h 6298"/>
              <a:gd name="connsiteX2" fmla="*/ 525 w 9792"/>
              <a:gd name="connsiteY2" fmla="*/ 5416 h 6298"/>
              <a:gd name="connsiteX3" fmla="*/ 0 w 9792"/>
              <a:gd name="connsiteY3" fmla="*/ 813 h 6298"/>
              <a:gd name="connsiteX4" fmla="*/ 0 w 9792"/>
              <a:gd name="connsiteY4" fmla="*/ 1742 h 6298"/>
              <a:gd name="connsiteX5" fmla="*/ 525 w 9792"/>
              <a:gd name="connsiteY5" fmla="*/ 6298 h 6298"/>
              <a:gd name="connsiteX6" fmla="*/ 1051 w 9792"/>
              <a:gd name="connsiteY6" fmla="*/ 1742 h 6298"/>
              <a:gd name="connsiteX7" fmla="*/ 9448 w 9792"/>
              <a:gd name="connsiteY7" fmla="*/ 1838 h 6298"/>
              <a:gd name="connsiteX8" fmla="*/ 9744 w 9792"/>
              <a:gd name="connsiteY8" fmla="*/ 925 h 6298"/>
              <a:gd name="connsiteX9" fmla="*/ 9739 w 9792"/>
              <a:gd name="connsiteY9" fmla="*/ 0 h 6298"/>
              <a:gd name="connsiteX10" fmla="*/ 9474 w 9792"/>
              <a:gd name="connsiteY10" fmla="*/ 830 h 6298"/>
              <a:gd name="connsiteX0" fmla="*/ 9675 w 9992"/>
              <a:gd name="connsiteY0" fmla="*/ 1318 h 10000"/>
              <a:gd name="connsiteX1" fmla="*/ 1073 w 9992"/>
              <a:gd name="connsiteY1" fmla="*/ 1291 h 10000"/>
              <a:gd name="connsiteX2" fmla="*/ 536 w 9992"/>
              <a:gd name="connsiteY2" fmla="*/ 8600 h 10000"/>
              <a:gd name="connsiteX3" fmla="*/ 0 w 9992"/>
              <a:gd name="connsiteY3" fmla="*/ 1291 h 10000"/>
              <a:gd name="connsiteX4" fmla="*/ 0 w 9992"/>
              <a:gd name="connsiteY4" fmla="*/ 2766 h 10000"/>
              <a:gd name="connsiteX5" fmla="*/ 536 w 9992"/>
              <a:gd name="connsiteY5" fmla="*/ 10000 h 10000"/>
              <a:gd name="connsiteX6" fmla="*/ 1073 w 9992"/>
              <a:gd name="connsiteY6" fmla="*/ 2766 h 10000"/>
              <a:gd name="connsiteX7" fmla="*/ 9649 w 9992"/>
              <a:gd name="connsiteY7" fmla="*/ 2918 h 10000"/>
              <a:gd name="connsiteX8" fmla="*/ 9951 w 9992"/>
              <a:gd name="connsiteY8" fmla="*/ 1469 h 10000"/>
              <a:gd name="connsiteX9" fmla="*/ 9946 w 9992"/>
              <a:gd name="connsiteY9" fmla="*/ 0 h 10000"/>
              <a:gd name="connsiteX10" fmla="*/ 9675 w 9992"/>
              <a:gd name="connsiteY10" fmla="*/ 1318 h 10000"/>
              <a:gd name="connsiteX0" fmla="*/ 9683 w 9961"/>
              <a:gd name="connsiteY0" fmla="*/ 1318 h 10000"/>
              <a:gd name="connsiteX1" fmla="*/ 1074 w 9961"/>
              <a:gd name="connsiteY1" fmla="*/ 1291 h 10000"/>
              <a:gd name="connsiteX2" fmla="*/ 536 w 9961"/>
              <a:gd name="connsiteY2" fmla="*/ 8600 h 10000"/>
              <a:gd name="connsiteX3" fmla="*/ 0 w 9961"/>
              <a:gd name="connsiteY3" fmla="*/ 1291 h 10000"/>
              <a:gd name="connsiteX4" fmla="*/ 0 w 9961"/>
              <a:gd name="connsiteY4" fmla="*/ 2766 h 10000"/>
              <a:gd name="connsiteX5" fmla="*/ 536 w 9961"/>
              <a:gd name="connsiteY5" fmla="*/ 10000 h 10000"/>
              <a:gd name="connsiteX6" fmla="*/ 1074 w 9961"/>
              <a:gd name="connsiteY6" fmla="*/ 2766 h 10000"/>
              <a:gd name="connsiteX7" fmla="*/ 9657 w 9961"/>
              <a:gd name="connsiteY7" fmla="*/ 2918 h 10000"/>
              <a:gd name="connsiteX8" fmla="*/ 9959 w 9961"/>
              <a:gd name="connsiteY8" fmla="*/ 1469 h 10000"/>
              <a:gd name="connsiteX9" fmla="*/ 9954 w 9961"/>
              <a:gd name="connsiteY9" fmla="*/ 0 h 10000"/>
              <a:gd name="connsiteX10" fmla="*/ 9683 w 9961"/>
              <a:gd name="connsiteY10" fmla="*/ 1318 h 10000"/>
              <a:gd name="connsiteX0" fmla="*/ 9721 w 10006"/>
              <a:gd name="connsiteY0" fmla="*/ 1208 h 9890"/>
              <a:gd name="connsiteX1" fmla="*/ 1078 w 10006"/>
              <a:gd name="connsiteY1" fmla="*/ 1181 h 9890"/>
              <a:gd name="connsiteX2" fmla="*/ 538 w 10006"/>
              <a:gd name="connsiteY2" fmla="*/ 8490 h 9890"/>
              <a:gd name="connsiteX3" fmla="*/ 0 w 10006"/>
              <a:gd name="connsiteY3" fmla="*/ 1181 h 9890"/>
              <a:gd name="connsiteX4" fmla="*/ 0 w 10006"/>
              <a:gd name="connsiteY4" fmla="*/ 2656 h 9890"/>
              <a:gd name="connsiteX5" fmla="*/ 538 w 10006"/>
              <a:gd name="connsiteY5" fmla="*/ 9890 h 9890"/>
              <a:gd name="connsiteX6" fmla="*/ 1078 w 10006"/>
              <a:gd name="connsiteY6" fmla="*/ 2656 h 9890"/>
              <a:gd name="connsiteX7" fmla="*/ 9695 w 10006"/>
              <a:gd name="connsiteY7" fmla="*/ 2808 h 9890"/>
              <a:gd name="connsiteX8" fmla="*/ 9998 w 10006"/>
              <a:gd name="connsiteY8" fmla="*/ 1359 h 9890"/>
              <a:gd name="connsiteX9" fmla="*/ 9999 w 10006"/>
              <a:gd name="connsiteY9" fmla="*/ 0 h 9890"/>
              <a:gd name="connsiteX10" fmla="*/ 9721 w 10006"/>
              <a:gd name="connsiteY10" fmla="*/ 1208 h 9890"/>
              <a:gd name="connsiteX0" fmla="*/ 9715 w 9993"/>
              <a:gd name="connsiteY0" fmla="*/ 1221 h 10000"/>
              <a:gd name="connsiteX1" fmla="*/ 1077 w 9993"/>
              <a:gd name="connsiteY1" fmla="*/ 1194 h 10000"/>
              <a:gd name="connsiteX2" fmla="*/ 538 w 9993"/>
              <a:gd name="connsiteY2" fmla="*/ 8584 h 10000"/>
              <a:gd name="connsiteX3" fmla="*/ 0 w 9993"/>
              <a:gd name="connsiteY3" fmla="*/ 1194 h 10000"/>
              <a:gd name="connsiteX4" fmla="*/ 0 w 9993"/>
              <a:gd name="connsiteY4" fmla="*/ 2686 h 10000"/>
              <a:gd name="connsiteX5" fmla="*/ 538 w 9993"/>
              <a:gd name="connsiteY5" fmla="*/ 10000 h 10000"/>
              <a:gd name="connsiteX6" fmla="*/ 1077 w 9993"/>
              <a:gd name="connsiteY6" fmla="*/ 2686 h 10000"/>
              <a:gd name="connsiteX7" fmla="*/ 9689 w 9993"/>
              <a:gd name="connsiteY7" fmla="*/ 2839 h 10000"/>
              <a:gd name="connsiteX8" fmla="*/ 9992 w 9993"/>
              <a:gd name="connsiteY8" fmla="*/ 1374 h 10000"/>
              <a:gd name="connsiteX9" fmla="*/ 9993 w 9993"/>
              <a:gd name="connsiteY9" fmla="*/ 0 h 10000"/>
              <a:gd name="connsiteX10" fmla="*/ 9715 w 9993"/>
              <a:gd name="connsiteY10" fmla="*/ 1221 h 10000"/>
              <a:gd name="connsiteX0" fmla="*/ 9722 w 10000"/>
              <a:gd name="connsiteY0" fmla="*/ 1221 h 10000"/>
              <a:gd name="connsiteX1" fmla="*/ 1078 w 10000"/>
              <a:gd name="connsiteY1" fmla="*/ 1194 h 10000"/>
              <a:gd name="connsiteX2" fmla="*/ 538 w 10000"/>
              <a:gd name="connsiteY2" fmla="*/ 8584 h 10000"/>
              <a:gd name="connsiteX3" fmla="*/ 0 w 10000"/>
              <a:gd name="connsiteY3" fmla="*/ 1194 h 10000"/>
              <a:gd name="connsiteX4" fmla="*/ 0 w 10000"/>
              <a:gd name="connsiteY4" fmla="*/ 2686 h 10000"/>
              <a:gd name="connsiteX5" fmla="*/ 538 w 10000"/>
              <a:gd name="connsiteY5" fmla="*/ 10000 h 10000"/>
              <a:gd name="connsiteX6" fmla="*/ 1078 w 10000"/>
              <a:gd name="connsiteY6" fmla="*/ 2686 h 10000"/>
              <a:gd name="connsiteX7" fmla="*/ 9696 w 10000"/>
              <a:gd name="connsiteY7" fmla="*/ 2839 h 10000"/>
              <a:gd name="connsiteX8" fmla="*/ 9999 w 10000"/>
              <a:gd name="connsiteY8" fmla="*/ 1374 h 10000"/>
              <a:gd name="connsiteX9" fmla="*/ 10000 w 10000"/>
              <a:gd name="connsiteY9" fmla="*/ 0 h 10000"/>
              <a:gd name="connsiteX10" fmla="*/ 9722 w 10000"/>
              <a:gd name="connsiteY10" fmla="*/ 1221 h 10000"/>
              <a:gd name="connsiteX0" fmla="*/ 9722 w 10000"/>
              <a:gd name="connsiteY0" fmla="*/ 1221 h 10000"/>
              <a:gd name="connsiteX1" fmla="*/ 1078 w 10000"/>
              <a:gd name="connsiteY1" fmla="*/ 1194 h 10000"/>
              <a:gd name="connsiteX2" fmla="*/ 538 w 10000"/>
              <a:gd name="connsiteY2" fmla="*/ 8584 h 10000"/>
              <a:gd name="connsiteX3" fmla="*/ 0 w 10000"/>
              <a:gd name="connsiteY3" fmla="*/ 1194 h 10000"/>
              <a:gd name="connsiteX4" fmla="*/ 0 w 10000"/>
              <a:gd name="connsiteY4" fmla="*/ 2686 h 10000"/>
              <a:gd name="connsiteX5" fmla="*/ 538 w 10000"/>
              <a:gd name="connsiteY5" fmla="*/ 10000 h 10000"/>
              <a:gd name="connsiteX6" fmla="*/ 1078 w 10000"/>
              <a:gd name="connsiteY6" fmla="*/ 2686 h 10000"/>
              <a:gd name="connsiteX7" fmla="*/ 9696 w 10000"/>
              <a:gd name="connsiteY7" fmla="*/ 2839 h 10000"/>
              <a:gd name="connsiteX8" fmla="*/ 9999 w 10000"/>
              <a:gd name="connsiteY8" fmla="*/ 1374 h 10000"/>
              <a:gd name="connsiteX9" fmla="*/ 10000 w 10000"/>
              <a:gd name="connsiteY9" fmla="*/ 0 h 10000"/>
              <a:gd name="connsiteX10" fmla="*/ 9722 w 10000"/>
              <a:gd name="connsiteY10" fmla="*/ 1221 h 10000"/>
              <a:gd name="connsiteX0" fmla="*/ 9722 w 10000"/>
              <a:gd name="connsiteY0" fmla="*/ 1221 h 10000"/>
              <a:gd name="connsiteX1" fmla="*/ 1078 w 10000"/>
              <a:gd name="connsiteY1" fmla="*/ 1194 h 10000"/>
              <a:gd name="connsiteX2" fmla="*/ 538 w 10000"/>
              <a:gd name="connsiteY2" fmla="*/ 8584 h 10000"/>
              <a:gd name="connsiteX3" fmla="*/ 0 w 10000"/>
              <a:gd name="connsiteY3" fmla="*/ 1194 h 10000"/>
              <a:gd name="connsiteX4" fmla="*/ 0 w 10000"/>
              <a:gd name="connsiteY4" fmla="*/ 2686 h 10000"/>
              <a:gd name="connsiteX5" fmla="*/ 538 w 10000"/>
              <a:gd name="connsiteY5" fmla="*/ 10000 h 10000"/>
              <a:gd name="connsiteX6" fmla="*/ 1078 w 10000"/>
              <a:gd name="connsiteY6" fmla="*/ 2686 h 10000"/>
              <a:gd name="connsiteX7" fmla="*/ 9696 w 10000"/>
              <a:gd name="connsiteY7" fmla="*/ 2839 h 10000"/>
              <a:gd name="connsiteX8" fmla="*/ 9999 w 10000"/>
              <a:gd name="connsiteY8" fmla="*/ 1374 h 10000"/>
              <a:gd name="connsiteX9" fmla="*/ 10000 w 10000"/>
              <a:gd name="connsiteY9" fmla="*/ 0 h 10000"/>
              <a:gd name="connsiteX10" fmla="*/ 9722 w 10000"/>
              <a:gd name="connsiteY10" fmla="*/ 1221 h 10000"/>
              <a:gd name="connsiteX0" fmla="*/ 9722 w 10000"/>
              <a:gd name="connsiteY0" fmla="*/ 1221 h 10000"/>
              <a:gd name="connsiteX1" fmla="*/ 1078 w 10000"/>
              <a:gd name="connsiteY1" fmla="*/ 1194 h 10000"/>
              <a:gd name="connsiteX2" fmla="*/ 538 w 10000"/>
              <a:gd name="connsiteY2" fmla="*/ 8584 h 10000"/>
              <a:gd name="connsiteX3" fmla="*/ 0 w 10000"/>
              <a:gd name="connsiteY3" fmla="*/ 1194 h 10000"/>
              <a:gd name="connsiteX4" fmla="*/ 0 w 10000"/>
              <a:gd name="connsiteY4" fmla="*/ 2686 h 10000"/>
              <a:gd name="connsiteX5" fmla="*/ 538 w 10000"/>
              <a:gd name="connsiteY5" fmla="*/ 10000 h 10000"/>
              <a:gd name="connsiteX6" fmla="*/ 1078 w 10000"/>
              <a:gd name="connsiteY6" fmla="*/ 2686 h 10000"/>
              <a:gd name="connsiteX7" fmla="*/ 9696 w 10000"/>
              <a:gd name="connsiteY7" fmla="*/ 2839 h 10000"/>
              <a:gd name="connsiteX8" fmla="*/ 9999 w 10000"/>
              <a:gd name="connsiteY8" fmla="*/ 1374 h 10000"/>
              <a:gd name="connsiteX9" fmla="*/ 10000 w 10000"/>
              <a:gd name="connsiteY9" fmla="*/ 0 h 10000"/>
              <a:gd name="connsiteX10" fmla="*/ 9722 w 10000"/>
              <a:gd name="connsiteY10" fmla="*/ 1221 h 10000"/>
              <a:gd name="connsiteX0" fmla="*/ 9722 w 10007"/>
              <a:gd name="connsiteY0" fmla="*/ 1221 h 10000"/>
              <a:gd name="connsiteX1" fmla="*/ 1078 w 10007"/>
              <a:gd name="connsiteY1" fmla="*/ 1194 h 10000"/>
              <a:gd name="connsiteX2" fmla="*/ 538 w 10007"/>
              <a:gd name="connsiteY2" fmla="*/ 8584 h 10000"/>
              <a:gd name="connsiteX3" fmla="*/ 0 w 10007"/>
              <a:gd name="connsiteY3" fmla="*/ 1194 h 10000"/>
              <a:gd name="connsiteX4" fmla="*/ 0 w 10007"/>
              <a:gd name="connsiteY4" fmla="*/ 2686 h 10000"/>
              <a:gd name="connsiteX5" fmla="*/ 538 w 10007"/>
              <a:gd name="connsiteY5" fmla="*/ 10000 h 10000"/>
              <a:gd name="connsiteX6" fmla="*/ 1078 w 10007"/>
              <a:gd name="connsiteY6" fmla="*/ 2686 h 10000"/>
              <a:gd name="connsiteX7" fmla="*/ 9696 w 10007"/>
              <a:gd name="connsiteY7" fmla="*/ 2839 h 10000"/>
              <a:gd name="connsiteX8" fmla="*/ 9999 w 10007"/>
              <a:gd name="connsiteY8" fmla="*/ 1374 h 10000"/>
              <a:gd name="connsiteX9" fmla="*/ 10000 w 10007"/>
              <a:gd name="connsiteY9" fmla="*/ 0 h 10000"/>
              <a:gd name="connsiteX10" fmla="*/ 9722 w 10007"/>
              <a:gd name="connsiteY10" fmla="*/ 1221 h 10000"/>
              <a:gd name="connsiteX0" fmla="*/ 9722 w 10000"/>
              <a:gd name="connsiteY0" fmla="*/ 1221 h 10000"/>
              <a:gd name="connsiteX1" fmla="*/ 1078 w 10000"/>
              <a:gd name="connsiteY1" fmla="*/ 1194 h 10000"/>
              <a:gd name="connsiteX2" fmla="*/ 538 w 10000"/>
              <a:gd name="connsiteY2" fmla="*/ 8584 h 10000"/>
              <a:gd name="connsiteX3" fmla="*/ 0 w 10000"/>
              <a:gd name="connsiteY3" fmla="*/ 1194 h 10000"/>
              <a:gd name="connsiteX4" fmla="*/ 0 w 10000"/>
              <a:gd name="connsiteY4" fmla="*/ 2686 h 10000"/>
              <a:gd name="connsiteX5" fmla="*/ 538 w 10000"/>
              <a:gd name="connsiteY5" fmla="*/ 10000 h 10000"/>
              <a:gd name="connsiteX6" fmla="*/ 1078 w 10000"/>
              <a:gd name="connsiteY6" fmla="*/ 2686 h 10000"/>
              <a:gd name="connsiteX7" fmla="*/ 9696 w 10000"/>
              <a:gd name="connsiteY7" fmla="*/ 2839 h 10000"/>
              <a:gd name="connsiteX8" fmla="*/ 9999 w 10000"/>
              <a:gd name="connsiteY8" fmla="*/ 1374 h 10000"/>
              <a:gd name="connsiteX9" fmla="*/ 10000 w 10000"/>
              <a:gd name="connsiteY9" fmla="*/ 0 h 10000"/>
              <a:gd name="connsiteX10" fmla="*/ 9722 w 10000"/>
              <a:gd name="connsiteY10" fmla="*/ 1221 h 10000"/>
              <a:gd name="connsiteX0" fmla="*/ 9722 w 10000"/>
              <a:gd name="connsiteY0" fmla="*/ 1221 h 10000"/>
              <a:gd name="connsiteX1" fmla="*/ 1078 w 10000"/>
              <a:gd name="connsiteY1" fmla="*/ 1194 h 10000"/>
              <a:gd name="connsiteX2" fmla="*/ 538 w 10000"/>
              <a:gd name="connsiteY2" fmla="*/ 8584 h 10000"/>
              <a:gd name="connsiteX3" fmla="*/ 0 w 10000"/>
              <a:gd name="connsiteY3" fmla="*/ 1194 h 10000"/>
              <a:gd name="connsiteX4" fmla="*/ 0 w 10000"/>
              <a:gd name="connsiteY4" fmla="*/ 2686 h 10000"/>
              <a:gd name="connsiteX5" fmla="*/ 538 w 10000"/>
              <a:gd name="connsiteY5" fmla="*/ 10000 h 10000"/>
              <a:gd name="connsiteX6" fmla="*/ 1078 w 10000"/>
              <a:gd name="connsiteY6" fmla="*/ 2686 h 10000"/>
              <a:gd name="connsiteX7" fmla="*/ 9696 w 10000"/>
              <a:gd name="connsiteY7" fmla="*/ 2839 h 10000"/>
              <a:gd name="connsiteX8" fmla="*/ 9999 w 10000"/>
              <a:gd name="connsiteY8" fmla="*/ 1374 h 10000"/>
              <a:gd name="connsiteX9" fmla="*/ 10000 w 10000"/>
              <a:gd name="connsiteY9" fmla="*/ 0 h 10000"/>
              <a:gd name="connsiteX10" fmla="*/ 9722 w 10000"/>
              <a:gd name="connsiteY10" fmla="*/ 1221 h 10000"/>
              <a:gd name="connsiteX0" fmla="*/ 9722 w 10000"/>
              <a:gd name="connsiteY0" fmla="*/ 1221 h 10000"/>
              <a:gd name="connsiteX1" fmla="*/ 1078 w 10000"/>
              <a:gd name="connsiteY1" fmla="*/ 1194 h 10000"/>
              <a:gd name="connsiteX2" fmla="*/ 538 w 10000"/>
              <a:gd name="connsiteY2" fmla="*/ 8584 h 10000"/>
              <a:gd name="connsiteX3" fmla="*/ 0 w 10000"/>
              <a:gd name="connsiteY3" fmla="*/ 1194 h 10000"/>
              <a:gd name="connsiteX4" fmla="*/ 0 w 10000"/>
              <a:gd name="connsiteY4" fmla="*/ 2686 h 10000"/>
              <a:gd name="connsiteX5" fmla="*/ 538 w 10000"/>
              <a:gd name="connsiteY5" fmla="*/ 10000 h 10000"/>
              <a:gd name="connsiteX6" fmla="*/ 1078 w 10000"/>
              <a:gd name="connsiteY6" fmla="*/ 2686 h 10000"/>
              <a:gd name="connsiteX7" fmla="*/ 9696 w 10000"/>
              <a:gd name="connsiteY7" fmla="*/ 2839 h 10000"/>
              <a:gd name="connsiteX8" fmla="*/ 9999 w 10000"/>
              <a:gd name="connsiteY8" fmla="*/ 1374 h 10000"/>
              <a:gd name="connsiteX9" fmla="*/ 10000 w 10000"/>
              <a:gd name="connsiteY9" fmla="*/ 0 h 10000"/>
              <a:gd name="connsiteX10" fmla="*/ 9722 w 10000"/>
              <a:gd name="connsiteY10" fmla="*/ 122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0000" h="10000">
                <a:moveTo>
                  <a:pt x="9722" y="1221"/>
                </a:moveTo>
                <a:cubicBezTo>
                  <a:pt x="9454" y="1149"/>
                  <a:pt x="3960" y="1202"/>
                  <a:pt x="1078" y="1194"/>
                </a:cubicBezTo>
                <a:cubicBezTo>
                  <a:pt x="654" y="1194"/>
                  <a:pt x="538" y="8584"/>
                  <a:pt x="538" y="8584"/>
                </a:cubicBezTo>
                <a:cubicBezTo>
                  <a:pt x="538" y="8584"/>
                  <a:pt x="426" y="1194"/>
                  <a:pt x="0" y="1194"/>
                </a:cubicBezTo>
                <a:lnTo>
                  <a:pt x="0" y="2686"/>
                </a:lnTo>
                <a:cubicBezTo>
                  <a:pt x="426" y="2686"/>
                  <a:pt x="538" y="10000"/>
                  <a:pt x="538" y="10000"/>
                </a:cubicBezTo>
                <a:cubicBezTo>
                  <a:pt x="538" y="10000"/>
                  <a:pt x="654" y="2686"/>
                  <a:pt x="1078" y="2686"/>
                </a:cubicBezTo>
                <a:lnTo>
                  <a:pt x="9696" y="2839"/>
                </a:lnTo>
                <a:cubicBezTo>
                  <a:pt x="9840" y="2743"/>
                  <a:pt x="9950" y="2143"/>
                  <a:pt x="9999" y="1374"/>
                </a:cubicBezTo>
                <a:cubicBezTo>
                  <a:pt x="9998" y="888"/>
                  <a:pt x="9999" y="515"/>
                  <a:pt x="10000" y="0"/>
                </a:cubicBezTo>
                <a:cubicBezTo>
                  <a:pt x="9880" y="1226"/>
                  <a:pt x="9814" y="1239"/>
                  <a:pt x="9722" y="1221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/>
        </p:spPr>
        <p:txBody>
          <a:bodyPr lIns="99563" tIns="49782" rIns="99563" bIns="49782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fr-FR" kern="0" dirty="0">
              <a:solidFill>
                <a:sysClr val="windowText" lastClr="000000"/>
              </a:solidFill>
              <a:cs typeface="Arial" charset="0"/>
            </a:endParaRPr>
          </a:p>
        </p:txBody>
      </p:sp>
      <p:sp>
        <p:nvSpPr>
          <p:cNvPr id="18" name="Text Placeholder 17"/>
          <p:cNvSpPr txBox="1">
            <a:spLocks/>
          </p:cNvSpPr>
          <p:nvPr userDrawn="1"/>
        </p:nvSpPr>
        <p:spPr>
          <a:xfrm>
            <a:off x="2505070" y="647700"/>
            <a:ext cx="1095380" cy="257176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anchor="ctr" anchorCtr="1">
            <a:noAutofit/>
          </a:bodyPr>
          <a:lstStyle>
            <a:lvl1pPr algn="ctr">
              <a:buNone/>
              <a:defRPr sz="1100" b="1">
                <a:solidFill>
                  <a:schemeClr val="bg1"/>
                </a:solidFill>
              </a:defRPr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 </a:t>
            </a:r>
            <a:r>
              <a:rPr kumimoji="0" lang="en-US" sz="11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</a:t>
            </a:r>
            <a:r>
              <a:rPr kumimoji="0" lang="en-US" sz="11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/ CG Logo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" name="Rectangular Callout 18"/>
          <p:cNvSpPr/>
          <p:nvPr userDrawn="1"/>
        </p:nvSpPr>
        <p:spPr>
          <a:xfrm>
            <a:off x="2965704" y="228600"/>
            <a:ext cx="4501896" cy="295275"/>
          </a:xfrm>
          <a:prstGeom prst="wedgeRectCallout">
            <a:avLst>
              <a:gd name="adj1" fmla="val -35662"/>
              <a:gd name="adj2" fmla="val 8199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et the course name and Logo  in </a:t>
            </a:r>
            <a:r>
              <a:rPr lang="en-US" sz="1100" baseline="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lide </a:t>
            </a:r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Master and delete this box</a:t>
            </a:r>
            <a:endParaRPr lang="en-US" sz="11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7" name="TextBox 26"/>
          <p:cNvSpPr txBox="1"/>
          <p:nvPr userDrawn="1"/>
        </p:nvSpPr>
        <p:spPr>
          <a:xfrm>
            <a:off x="3657600" y="591312"/>
            <a:ext cx="88998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odule name</a:t>
            </a:r>
            <a:endParaRPr lang="en-US" dirty="0"/>
          </a:p>
        </p:txBody>
      </p:sp>
      <p:sp>
        <p:nvSpPr>
          <p:cNvPr id="28" name="TextBox 27"/>
          <p:cNvSpPr txBox="1"/>
          <p:nvPr userDrawn="1"/>
        </p:nvSpPr>
        <p:spPr>
          <a:xfrm>
            <a:off x="3657600" y="725424"/>
            <a:ext cx="97975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urse nam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60" r:id="rId2"/>
    <p:sldLayoutId id="2147483662" r:id="rId3"/>
    <p:sldLayoutId id="2147483649" r:id="rId4"/>
    <p:sldLayoutId id="2147483661" r:id="rId5"/>
    <p:sldLayoutId id="2147483664" r:id="rId6"/>
    <p:sldLayoutId id="2147483655" r:id="rId7"/>
    <p:sldLayoutId id="2147483671" r:id="rId8"/>
    <p:sldLayoutId id="2147483663" r:id="rId9"/>
    <p:sldLayoutId id="2147483656" r:id="rId10"/>
    <p:sldLayoutId id="2147483657" r:id="rId11"/>
    <p:sldLayoutId id="2147483659" r:id="rId12"/>
    <p:sldLayoutId id="2147483669" r:id="rId13"/>
    <p:sldLayoutId id="2147483672" r:id="rId14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lang="en-US" sz="800" b="1" kern="1200" dirty="0" smtClean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</p:titleStyle>
    <p:bodyStyle>
      <a:lvl1pPr marL="342900" marR="0" indent="-34290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Arial" pitchFamily="34" charset="0"/>
        <a:buNone/>
        <a:tabLst/>
        <a:defRPr sz="11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file:///\\In-pnq-lnd02\el_resources$\02_ResourceLibrary\GraphicsLibrary\ReUsable_Graphics\Icons" TargetMode="Externa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cid:image001.jpg@01CE0452.A4036B80" TargetMode="External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0"/>
          <p:cNvSpPr txBox="1">
            <a:spLocks/>
          </p:cNvSpPr>
          <p:nvPr/>
        </p:nvSpPr>
        <p:spPr>
          <a:xfrm>
            <a:off x="76200" y="2743200"/>
            <a:ext cx="8610600" cy="428625"/>
          </a:xfrm>
          <a:prstGeom prst="rect">
            <a:avLst/>
          </a:prstGeom>
        </p:spPr>
        <p:txBody>
          <a:bodyPr/>
          <a:lstStyle/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uidelines/Best Practices for </a:t>
            </a:r>
          </a:p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oryboarding for HTML5</a:t>
            </a:r>
            <a:r>
              <a:rPr kumimoji="0" lang="en-US" sz="32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urses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26"/>
          </p:nvPr>
        </p:nvSpPr>
        <p:spPr/>
      </p:sp>
      <p:sp>
        <p:nvSpPr>
          <p:cNvPr id="12" name="Table Placeholder 11"/>
          <p:cNvSpPr>
            <a:spLocks noGrp="1"/>
          </p:cNvSpPr>
          <p:nvPr>
            <p:ph type="tbl" sz="quarter" idx="27"/>
          </p:nvPr>
        </p:nvSpPr>
        <p:spPr/>
      </p:sp>
      <p:sp>
        <p:nvSpPr>
          <p:cNvPr id="13" name="Table Placeholder 12"/>
          <p:cNvSpPr>
            <a:spLocks noGrp="1"/>
          </p:cNvSpPr>
          <p:nvPr>
            <p:ph type="tbl" sz="quarter" idx="30"/>
          </p:nvPr>
        </p:nvSpPr>
        <p:spPr/>
      </p:sp>
      <p:sp>
        <p:nvSpPr>
          <p:cNvPr id="8" name="Text Placeholder 7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ubtitle 10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Table Placeholder 13"/>
          <p:cNvSpPr>
            <a:spLocks noGrp="1"/>
          </p:cNvSpPr>
          <p:nvPr>
            <p:ph type="tbl" sz="quarter" idx="26"/>
          </p:nvPr>
        </p:nvSpPr>
        <p:spPr/>
      </p:sp>
      <p:sp>
        <p:nvSpPr>
          <p:cNvPr id="15" name="Table Placeholder 14"/>
          <p:cNvSpPr>
            <a:spLocks noGrp="1"/>
          </p:cNvSpPr>
          <p:nvPr>
            <p:ph type="tbl" sz="quarter" idx="27"/>
          </p:nvPr>
        </p:nvSpPr>
        <p:spPr/>
      </p:sp>
      <p:sp>
        <p:nvSpPr>
          <p:cNvPr id="16" name="Table Placeholder 15"/>
          <p:cNvSpPr>
            <a:spLocks noGrp="1"/>
          </p:cNvSpPr>
          <p:nvPr>
            <p:ph type="tbl" sz="quarter" idx="28"/>
          </p:nvPr>
        </p:nvSpPr>
        <p:spPr/>
      </p:sp>
      <p:sp>
        <p:nvSpPr>
          <p:cNvPr id="17" name="Table Placeholder 16"/>
          <p:cNvSpPr>
            <a:spLocks noGrp="1"/>
          </p:cNvSpPr>
          <p:nvPr>
            <p:ph type="tbl" sz="quarter" idx="29"/>
          </p:nvPr>
        </p:nvSpPr>
        <p:spPr/>
      </p:sp>
      <p:sp>
        <p:nvSpPr>
          <p:cNvPr id="18" name="Table Placeholder 17"/>
          <p:cNvSpPr>
            <a:spLocks noGrp="1"/>
          </p:cNvSpPr>
          <p:nvPr>
            <p:ph type="tbl" sz="quarter" idx="30"/>
          </p:nvPr>
        </p:nvSpPr>
        <p:spPr/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Table Placeholder 15"/>
          <p:cNvSpPr>
            <a:spLocks noGrp="1"/>
          </p:cNvSpPr>
          <p:nvPr>
            <p:ph type="tbl" sz="quarter" idx="27"/>
          </p:nvPr>
        </p:nvSpPr>
        <p:spPr/>
      </p:sp>
      <p:sp>
        <p:nvSpPr>
          <p:cNvPr id="17" name="Table Placeholder 16"/>
          <p:cNvSpPr>
            <a:spLocks noGrp="1"/>
          </p:cNvSpPr>
          <p:nvPr>
            <p:ph type="tbl" sz="quarter" idx="30"/>
          </p:nvPr>
        </p:nvSpPr>
        <p:spPr/>
      </p:sp>
      <p:sp>
        <p:nvSpPr>
          <p:cNvPr id="13" name="Text Placeholder 1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ubtitle 10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able Placeholder 12"/>
          <p:cNvSpPr>
            <a:spLocks noGrp="1"/>
          </p:cNvSpPr>
          <p:nvPr>
            <p:ph type="tbl" sz="quarter" idx="27"/>
          </p:nvPr>
        </p:nvSpPr>
        <p:spPr/>
      </p:sp>
      <p:sp>
        <p:nvSpPr>
          <p:cNvPr id="14" name="Table Placeholder 13"/>
          <p:cNvSpPr>
            <a:spLocks noGrp="1"/>
          </p:cNvSpPr>
          <p:nvPr>
            <p:ph type="tbl" sz="quarter" idx="30"/>
          </p:nvPr>
        </p:nvSpPr>
        <p:spPr/>
      </p:sp>
      <p:sp>
        <p:nvSpPr>
          <p:cNvPr id="15" name="Text Placeholder 14"/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3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5" name="Content Placeholder 24"/>
          <p:cNvSpPr>
            <a:spLocks noGrp="1"/>
          </p:cNvSpPr>
          <p:nvPr>
            <p:ph sz="quarter" idx="4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6" name="Content Placeholder 25"/>
          <p:cNvSpPr>
            <a:spLocks noGrp="1"/>
          </p:cNvSpPr>
          <p:nvPr>
            <p:ph sz="quarter" idx="4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7" name="Content Placeholder 26"/>
          <p:cNvSpPr>
            <a:spLocks noGrp="1"/>
          </p:cNvSpPr>
          <p:nvPr>
            <p:ph sz="quarter" idx="4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8" name="Content Placeholder 27"/>
          <p:cNvSpPr>
            <a:spLocks noGrp="1"/>
          </p:cNvSpPr>
          <p:nvPr>
            <p:ph sz="quarter" idx="4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" name="Content Placeholder 28"/>
          <p:cNvSpPr>
            <a:spLocks noGrp="1"/>
          </p:cNvSpPr>
          <p:nvPr>
            <p:ph sz="quarter" idx="4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0" name="Content Placeholder 29"/>
          <p:cNvSpPr>
            <a:spLocks noGrp="1"/>
          </p:cNvSpPr>
          <p:nvPr>
            <p:ph sz="quarter" idx="4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1" name="Content Placeholder 30"/>
          <p:cNvSpPr>
            <a:spLocks noGrp="1"/>
          </p:cNvSpPr>
          <p:nvPr>
            <p:ph sz="quarter" idx="4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2" name="Content Placeholder 31"/>
          <p:cNvSpPr>
            <a:spLocks noGrp="1"/>
          </p:cNvSpPr>
          <p:nvPr>
            <p:ph sz="quarter" idx="48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2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6" name="Subtitle 2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8" name="Content Placeholder 27"/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" name="Content Placeholder 28"/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2" name="Table Placeholder 31"/>
          <p:cNvSpPr>
            <a:spLocks noGrp="1"/>
          </p:cNvSpPr>
          <p:nvPr>
            <p:ph type="tbl" sz="quarter" idx="30"/>
          </p:nvPr>
        </p:nvSpPr>
        <p:spPr/>
      </p:sp>
      <p:sp>
        <p:nvSpPr>
          <p:cNvPr id="30" name="Table Placeholder 29"/>
          <p:cNvSpPr>
            <a:spLocks noGrp="1"/>
          </p:cNvSpPr>
          <p:nvPr>
            <p:ph type="tbl" sz="quarter" idx="26"/>
          </p:nvPr>
        </p:nvSpPr>
        <p:spPr/>
      </p:sp>
      <p:sp>
        <p:nvSpPr>
          <p:cNvPr id="27" name="Text Placeholder 2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ubtitle 10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2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Table Placeholder 16"/>
          <p:cNvSpPr>
            <a:spLocks noGrp="1"/>
          </p:cNvSpPr>
          <p:nvPr>
            <p:ph type="tbl" sz="quarter" idx="28"/>
          </p:nvPr>
        </p:nvSpPr>
        <p:spPr/>
      </p:sp>
      <p:sp>
        <p:nvSpPr>
          <p:cNvPr id="18" name="Table Placeholder 17"/>
          <p:cNvSpPr>
            <a:spLocks noGrp="1"/>
          </p:cNvSpPr>
          <p:nvPr>
            <p:ph type="tbl" sz="quarter" idx="29"/>
          </p:nvPr>
        </p:nvSpPr>
        <p:spPr/>
      </p:sp>
      <p:sp>
        <p:nvSpPr>
          <p:cNvPr id="19" name="Table Placeholder 18"/>
          <p:cNvSpPr>
            <a:spLocks noGrp="1"/>
          </p:cNvSpPr>
          <p:nvPr>
            <p:ph type="tbl" sz="quarter" idx="30"/>
          </p:nvPr>
        </p:nvSpPr>
        <p:spPr/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Subtitle 1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1" name="Content Placeholder 20"/>
          <p:cNvSpPr>
            <a:spLocks noGrp="1"/>
          </p:cNvSpPr>
          <p:nvPr>
            <p:ph sz="quarter" idx="3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2" name="Content Placeholder 21"/>
          <p:cNvSpPr>
            <a:spLocks noGrp="1"/>
          </p:cNvSpPr>
          <p:nvPr>
            <p:ph sz="quarter" idx="3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Content Placeholder 22"/>
          <p:cNvSpPr>
            <a:spLocks noGrp="1"/>
          </p:cNvSpPr>
          <p:nvPr>
            <p:ph sz="quarter" idx="3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4" name="Content Placeholder 23"/>
          <p:cNvSpPr>
            <a:spLocks noGrp="1"/>
          </p:cNvSpPr>
          <p:nvPr>
            <p:ph sz="quarter" idx="3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5" name="Content Placeholder 24"/>
          <p:cNvSpPr>
            <a:spLocks noGrp="1"/>
          </p:cNvSpPr>
          <p:nvPr>
            <p:ph sz="quarter" idx="3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6" name="Content Placeholder 25"/>
          <p:cNvSpPr>
            <a:spLocks noGrp="1"/>
          </p:cNvSpPr>
          <p:nvPr>
            <p:ph sz="quarter" idx="3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7" name="Table Placeholder 26"/>
          <p:cNvSpPr>
            <a:spLocks noGrp="1"/>
          </p:cNvSpPr>
          <p:nvPr>
            <p:ph type="tbl" sz="quarter" idx="38"/>
          </p:nvPr>
        </p:nvSpPr>
        <p:spPr/>
      </p:sp>
      <p:sp>
        <p:nvSpPr>
          <p:cNvPr id="28" name="Table Placeholder 27"/>
          <p:cNvSpPr>
            <a:spLocks noGrp="1"/>
          </p:cNvSpPr>
          <p:nvPr>
            <p:ph type="tbl" sz="quarter" idx="39"/>
          </p:nvPr>
        </p:nvSpPr>
        <p:spPr/>
      </p:sp>
      <p:sp>
        <p:nvSpPr>
          <p:cNvPr id="29" name="Table Placeholder 28"/>
          <p:cNvSpPr>
            <a:spLocks noGrp="1"/>
          </p:cNvSpPr>
          <p:nvPr>
            <p:ph type="tbl" sz="quarter" idx="40"/>
          </p:nvPr>
        </p:nvSpPr>
        <p:spPr/>
      </p:sp>
      <p:sp>
        <p:nvSpPr>
          <p:cNvPr id="30" name="Table Placeholder 29"/>
          <p:cNvSpPr>
            <a:spLocks noGrp="1"/>
          </p:cNvSpPr>
          <p:nvPr>
            <p:ph type="tbl" sz="quarter" idx="41"/>
          </p:nvPr>
        </p:nvSpPr>
        <p:spPr/>
      </p:sp>
      <p:sp>
        <p:nvSpPr>
          <p:cNvPr id="17" name="Text Placeholder 1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25"/>
          <p:cNvSpPr>
            <a:spLocks noGrp="1"/>
          </p:cNvSpPr>
          <p:nvPr>
            <p:ph type="pic" sz="quarter" idx="33"/>
          </p:nvPr>
        </p:nvSpPr>
        <p:spPr/>
      </p:sp>
      <p:sp>
        <p:nvSpPr>
          <p:cNvPr id="27" name="Picture Placeholder 26"/>
          <p:cNvSpPr>
            <a:spLocks noGrp="1"/>
          </p:cNvSpPr>
          <p:nvPr>
            <p:ph type="pic" sz="quarter" idx="35"/>
          </p:nvPr>
        </p:nvSpPr>
        <p:spPr/>
      </p:sp>
      <p:sp>
        <p:nvSpPr>
          <p:cNvPr id="20" name="Title 1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1" name="Subtitle 20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8" name="Content Placeholder 27"/>
          <p:cNvSpPr>
            <a:spLocks noGrp="1"/>
          </p:cNvSpPr>
          <p:nvPr>
            <p:ph sz="quarter" idx="3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" name="Content Placeholder 28"/>
          <p:cNvSpPr>
            <a:spLocks noGrp="1"/>
          </p:cNvSpPr>
          <p:nvPr>
            <p:ph sz="quarter" idx="4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0" name="Content Placeholder 29"/>
          <p:cNvSpPr>
            <a:spLocks noGrp="1"/>
          </p:cNvSpPr>
          <p:nvPr>
            <p:ph sz="quarter" idx="4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1" name="Content Placeholder 30"/>
          <p:cNvSpPr>
            <a:spLocks noGrp="1"/>
          </p:cNvSpPr>
          <p:nvPr>
            <p:ph sz="quarter" idx="4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5" name="Text Placeholder 34"/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 flipV="1">
            <a:off x="2667000" y="1128304"/>
            <a:ext cx="3352800" cy="1843494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 descr="\\in-pnq-lnd02\el_resources$\10_AllShare\Sunil\Library_work\Icons\audio_02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86200" y="1524000"/>
            <a:ext cx="1120541" cy="1120541"/>
          </a:xfrm>
          <a:prstGeom prst="rect">
            <a:avLst/>
          </a:prstGeom>
          <a:noFill/>
        </p:spPr>
      </p:pic>
      <p:sp>
        <p:nvSpPr>
          <p:cNvPr id="6" name="Rectangle 5"/>
          <p:cNvSpPr/>
          <p:nvPr/>
        </p:nvSpPr>
        <p:spPr>
          <a:xfrm rot="10800000" flipV="1">
            <a:off x="2667000" y="2971800"/>
            <a:ext cx="3352800" cy="48020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If possible use </a:t>
            </a:r>
            <a:r>
              <a:rPr lang="en-US" sz="1200" dirty="0" smtClean="0">
                <a:solidFill>
                  <a:schemeClr val="tx1"/>
                </a:solidFill>
                <a:hlinkClick r:id="rId3" action="ppaction://hlinkfile"/>
              </a:rPr>
              <a:t>icons </a:t>
            </a:r>
            <a:r>
              <a:rPr lang="en-US" sz="1200" dirty="0" smtClean="0">
                <a:solidFill>
                  <a:schemeClr val="tx1"/>
                </a:solidFill>
              </a:rPr>
              <a:t>instead of images</a:t>
            </a:r>
            <a:endParaRPr lang="en-US" sz="1200" dirty="0">
              <a:solidFill>
                <a:schemeClr val="tx1"/>
              </a:solidFill>
            </a:endParaRPr>
          </a:p>
        </p:txBody>
      </p:sp>
      <p:pic>
        <p:nvPicPr>
          <p:cNvPr id="1029" name="Picture 5" descr="D:\svn\Projects\HTML5_conversions\11_Templates\Page_Layout\Mobile\Slide_24.jpg"/>
          <p:cNvPicPr>
            <a:picLocks noChangeAspect="1" noChangeArrowheads="1"/>
          </p:cNvPicPr>
          <p:nvPr/>
        </p:nvPicPr>
        <p:blipFill>
          <a:blip r:embed="rId4" cstate="print"/>
          <a:srcRect l="6624" t="28185" r="5707" b="15656"/>
          <a:stretch>
            <a:fillRect/>
          </a:stretch>
        </p:blipFill>
        <p:spPr bwMode="auto">
          <a:xfrm>
            <a:off x="352843" y="4047803"/>
            <a:ext cx="1686658" cy="1990257"/>
          </a:xfrm>
          <a:prstGeom prst="rect">
            <a:avLst/>
          </a:prstGeom>
          <a:noFill/>
        </p:spPr>
      </p:pic>
      <p:pic>
        <p:nvPicPr>
          <p:cNvPr id="1030" name="Picture 6" descr="D:\svn\Projects\HTML5_conversions\11_Templates\Page_Layout\croped_images\Slide _No_04\Slide_No_04.png"/>
          <p:cNvPicPr>
            <a:picLocks noChangeAspect="1" noChangeArrowheads="1"/>
          </p:cNvPicPr>
          <p:nvPr/>
        </p:nvPicPr>
        <p:blipFill>
          <a:blip r:embed="rId5" cstate="print"/>
          <a:stretch>
            <a:fillRect/>
          </a:stretch>
        </p:blipFill>
        <p:spPr bwMode="auto">
          <a:xfrm>
            <a:off x="2057400" y="4058912"/>
            <a:ext cx="2131681" cy="1981152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TextBox 15"/>
          <p:cNvSpPr txBox="1"/>
          <p:nvPr/>
        </p:nvSpPr>
        <p:spPr>
          <a:xfrm>
            <a:off x="609600" y="6076890"/>
            <a:ext cx="3200400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/>
              <a:t>We need to make an Image when we are creating Charts</a:t>
            </a:r>
          </a:p>
          <a:p>
            <a:pPr algn="ctr"/>
            <a:r>
              <a:rPr lang="en-US" sz="1000" dirty="0" smtClean="0"/>
              <a:t>So when it scale down it should be readable in mobile.</a:t>
            </a:r>
            <a:endParaRPr lang="en-US" sz="1000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Before creating the storyboard. (For IDs)</a:t>
            </a:r>
            <a:endParaRPr lang="en-US" dirty="0"/>
          </a:p>
        </p:txBody>
      </p:sp>
      <p:sp>
        <p:nvSpPr>
          <p:cNvPr id="26" name="Rectangle 25"/>
          <p:cNvSpPr/>
          <p:nvPr/>
        </p:nvSpPr>
        <p:spPr>
          <a:xfrm>
            <a:off x="4522076" y="4053649"/>
            <a:ext cx="2183524" cy="202324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accent1">
                <a:shade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Maximum Box Siz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360276" y="5577649"/>
            <a:ext cx="1035269" cy="2154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chemeClr val="bg1"/>
                </a:solidFill>
              </a:rPr>
              <a:t>Minimum font size</a:t>
            </a:r>
            <a:endParaRPr lang="en-US" sz="800" dirty="0">
              <a:solidFill>
                <a:schemeClr val="bg1"/>
              </a:solidFill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312737" y="3581400"/>
            <a:ext cx="84213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312738" y="3657600"/>
            <a:ext cx="185659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Actual Chart Images</a:t>
            </a:r>
            <a:endParaRPr lang="en-US" sz="1400" dirty="0"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4432740" y="3657600"/>
            <a:ext cx="33354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Box and text Size For PPT chart layout</a:t>
            </a:r>
            <a:endParaRPr lang="en-US" sz="1400" dirty="0"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cxnSp>
        <p:nvCxnSpPr>
          <p:cNvPr id="33" name="Straight Connector 32"/>
          <p:cNvCxnSpPr/>
          <p:nvPr/>
        </p:nvCxnSpPr>
        <p:spPr>
          <a:xfrm>
            <a:off x="4343400" y="3741683"/>
            <a:ext cx="0" cy="296391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6858000" y="4648200"/>
            <a:ext cx="1752600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endParaRPr lang="en-US" sz="1000" dirty="0"/>
          </a:p>
        </p:txBody>
      </p:sp>
      <p:sp>
        <p:nvSpPr>
          <p:cNvPr id="37" name="Rectangular Callout 36"/>
          <p:cNvSpPr/>
          <p:nvPr/>
        </p:nvSpPr>
        <p:spPr>
          <a:xfrm>
            <a:off x="6779173" y="4062250"/>
            <a:ext cx="1755228" cy="751488"/>
          </a:xfrm>
          <a:prstGeom prst="wedgeRectCallout">
            <a:avLst>
              <a:gd name="adj1" fmla="val -99422"/>
              <a:gd name="adj2" fmla="val 5010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100" dirty="0" smtClean="0">
                <a:solidFill>
                  <a:schemeClr val="bg1"/>
                </a:solidFill>
              </a:rPr>
              <a:t>Copy-paste &amp; create it for Mobile Layout only. (RMD will take care for the desktop &amp; tablet)</a:t>
            </a:r>
            <a:endParaRPr lang="en-US" sz="11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Title 17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Subtitle 18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5" name="Text Placeholder 34"/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3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7" name="Text Placeholder 36"/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" name="Content Placeholder 37"/>
          <p:cNvSpPr>
            <a:spLocks noGrp="1"/>
          </p:cNvSpPr>
          <p:nvPr>
            <p:ph sz="quarter" idx="4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Content Placeholder 38"/>
          <p:cNvSpPr>
            <a:spLocks noGrp="1"/>
          </p:cNvSpPr>
          <p:nvPr>
            <p:ph sz="quarter" idx="43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25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4" name="Title 2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5" name="Subtitle 2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7" name="Text Placeholder 36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" name="Text Placeholder 37"/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Text Placeholder 38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0" name="Text Placeholder 39"/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2" name="Text Placeholder 41"/>
          <p:cNvSpPr>
            <a:spLocks noGrp="1"/>
          </p:cNvSpPr>
          <p:nvPr>
            <p:ph type="body" sz="quarter" idx="3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4" name="Content Placeholder 43"/>
          <p:cNvSpPr>
            <a:spLocks noGrp="1"/>
          </p:cNvSpPr>
          <p:nvPr>
            <p:ph sz="quarter" idx="4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5" name="Content Placeholder 44"/>
          <p:cNvSpPr>
            <a:spLocks noGrp="1"/>
          </p:cNvSpPr>
          <p:nvPr>
            <p:ph sz="quarter" idx="4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5" name="Text Placeholder 34"/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White Spaces &amp; Fonts</a:t>
            </a:r>
            <a:endParaRPr lang="en-US" dirty="0"/>
          </a:p>
        </p:txBody>
      </p:sp>
      <p:pic>
        <p:nvPicPr>
          <p:cNvPr id="3" name="Picture 3" descr="D:\svn\Projects\HTML5_conversions\11_Templates\Page_Layout\Tablet\Tablet_H_Layout_Images\Tblet_H_Slide_23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24000" y="990600"/>
            <a:ext cx="5493884" cy="307657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4" name="TextBox 3"/>
          <p:cNvSpPr txBox="1"/>
          <p:nvPr/>
        </p:nvSpPr>
        <p:spPr>
          <a:xfrm>
            <a:off x="1522412" y="4157008"/>
            <a:ext cx="2670533" cy="193899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500" u="sng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Mobile Fonts for OST</a:t>
            </a:r>
          </a:p>
          <a:p>
            <a:r>
              <a: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ont: Open Sans</a:t>
            </a:r>
          </a:p>
          <a:p>
            <a:r>
              <a: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1: 11 </a:t>
            </a:r>
            <a:r>
              <a:rPr lang="en-US" sz="14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x</a:t>
            </a:r>
            <a:endParaRPr lang="en-US" sz="1400" dirty="0" smtClean="0">
              <a:solidFill>
                <a:schemeClr val="tx1">
                  <a:lumMod val="65000"/>
                  <a:lumOff val="3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r>
              <a: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2:  10px</a:t>
            </a:r>
          </a:p>
          <a:p>
            <a:r>
              <a: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Bullet &amp; Paragraph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: </a:t>
            </a:r>
            <a:r>
              <a: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9px</a:t>
            </a:r>
          </a:p>
          <a:p>
            <a:endParaRPr lang="en-US" sz="900" dirty="0" smtClean="0">
              <a:solidFill>
                <a:schemeClr val="tx1">
                  <a:lumMod val="65000"/>
                  <a:lumOff val="3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r>
              <a:rPr lang="en-US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ote: You can enlarge font if required, but don’t reduce it below 9 </a:t>
            </a:r>
            <a:r>
              <a:rPr lang="en-US" sz="12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x</a:t>
            </a:r>
            <a:r>
              <a:rPr lang="en-US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.  </a:t>
            </a:r>
            <a:endParaRPr lang="en-US" sz="1400" dirty="0" smtClean="0">
              <a:solidFill>
                <a:schemeClr val="tx1">
                  <a:lumMod val="65000"/>
                  <a:lumOff val="3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257674" y="4191000"/>
            <a:ext cx="3209926" cy="173893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500" u="sng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Tablet &amp; Desktop Fonts for OST</a:t>
            </a:r>
          </a:p>
          <a:p>
            <a:r>
              <a: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ont: Open Sans</a:t>
            </a:r>
            <a:endParaRPr lang="en-US" sz="1400" u="sng" dirty="0" smtClean="0"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r>
              <a: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1: 12 </a:t>
            </a:r>
            <a:r>
              <a:rPr lang="en-US" sz="14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x</a:t>
            </a:r>
            <a:endParaRPr lang="en-US" sz="1400" dirty="0" smtClean="0">
              <a:solidFill>
                <a:schemeClr val="tx1">
                  <a:lumMod val="65000"/>
                  <a:lumOff val="3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r>
              <a: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2:  11px</a:t>
            </a:r>
          </a:p>
          <a:p>
            <a:r>
              <a: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Bullet &amp; Paragraph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: </a:t>
            </a:r>
            <a:r>
              <a: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10px</a:t>
            </a:r>
          </a:p>
          <a:p>
            <a:endParaRPr lang="en-US" sz="800" dirty="0" smtClean="0">
              <a:solidFill>
                <a:schemeClr val="tx1">
                  <a:lumMod val="65000"/>
                  <a:lumOff val="3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r>
              <a:rPr lang="en-US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ote: You can enlarge font if required, but don’t reduce it below 10 </a:t>
            </a:r>
            <a:r>
              <a:rPr lang="en-US" sz="12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x</a:t>
            </a:r>
            <a:r>
              <a:rPr lang="en-US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.  </a:t>
            </a:r>
          </a:p>
        </p:txBody>
      </p:sp>
      <p:cxnSp>
        <p:nvCxnSpPr>
          <p:cNvPr id="6" name="Straight Arrow Connector 5"/>
          <p:cNvCxnSpPr/>
          <p:nvPr/>
        </p:nvCxnSpPr>
        <p:spPr>
          <a:xfrm flipV="1">
            <a:off x="4241870" y="3859261"/>
            <a:ext cx="2094076" cy="152"/>
          </a:xfrm>
          <a:prstGeom prst="straightConnector1">
            <a:avLst/>
          </a:prstGeom>
          <a:ln>
            <a:solidFill>
              <a:srgbClr val="FF0000"/>
            </a:solidFill>
            <a:headEnd type="arrow"/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4595332" y="3707097"/>
            <a:ext cx="1324592" cy="307777"/>
          </a:xfrm>
          <a:prstGeom prst="rect">
            <a:avLst/>
          </a:prstGeom>
          <a:solidFill>
            <a:srgbClr val="FF0000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 smtClean="0">
                <a:solidFill>
                  <a:schemeClr val="bg1"/>
                </a:solidFill>
              </a:rPr>
              <a:t>Think about the </a:t>
            </a:r>
          </a:p>
          <a:p>
            <a:pPr algn="ctr"/>
            <a:r>
              <a:rPr lang="en-US" sz="1000" dirty="0" smtClean="0">
                <a:solidFill>
                  <a:schemeClr val="bg1"/>
                </a:solidFill>
              </a:rPr>
              <a:t>empty space</a:t>
            </a:r>
            <a:endParaRPr lang="en-US" sz="10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ction Button: Custom 7">
            <a:hlinkClick r:id="" action="ppaction://noaction" highlightClick="1"/>
          </p:cNvPr>
          <p:cNvSpPr/>
          <p:nvPr/>
        </p:nvSpPr>
        <p:spPr>
          <a:xfrm>
            <a:off x="2182814" y="876300"/>
            <a:ext cx="227878" cy="5981700"/>
          </a:xfrm>
          <a:prstGeom prst="actionButtonBlank">
            <a:avLst/>
          </a:prstGeom>
          <a:solidFill>
            <a:srgbClr val="FF000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Action Button: Custom 8">
            <a:hlinkClick r:id="" action="ppaction://noaction" highlightClick="1"/>
          </p:cNvPr>
          <p:cNvSpPr/>
          <p:nvPr/>
        </p:nvSpPr>
        <p:spPr>
          <a:xfrm>
            <a:off x="8610600" y="1283856"/>
            <a:ext cx="533400" cy="5574144"/>
          </a:xfrm>
          <a:prstGeom prst="actionButtonBlank">
            <a:avLst/>
          </a:prstGeom>
          <a:solidFill>
            <a:srgbClr val="FF000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Action Button: Custom 9">
            <a:hlinkClick r:id="" action="ppaction://noaction" highlightClick="1"/>
          </p:cNvPr>
          <p:cNvSpPr/>
          <p:nvPr/>
        </p:nvSpPr>
        <p:spPr>
          <a:xfrm>
            <a:off x="0" y="866775"/>
            <a:ext cx="304800" cy="5991225"/>
          </a:xfrm>
          <a:prstGeom prst="actionButtonBlank">
            <a:avLst/>
          </a:prstGeom>
          <a:solidFill>
            <a:srgbClr val="FF000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TextBox 57"/>
          <p:cNvSpPr txBox="1"/>
          <p:nvPr/>
        </p:nvSpPr>
        <p:spPr>
          <a:xfrm>
            <a:off x="533400" y="2209800"/>
            <a:ext cx="13633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Mobile View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4087240" y="2440024"/>
            <a:ext cx="33216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Desktop &amp; Horizontal Tablet View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76" name="Group 75"/>
          <p:cNvGrpSpPr/>
          <p:nvPr/>
        </p:nvGrpSpPr>
        <p:grpSpPr>
          <a:xfrm>
            <a:off x="312738" y="2991535"/>
            <a:ext cx="8297862" cy="2371649"/>
            <a:chOff x="312738" y="2991535"/>
            <a:chExt cx="8297862" cy="2371649"/>
          </a:xfrm>
        </p:grpSpPr>
        <p:sp>
          <p:nvSpPr>
            <p:cNvPr id="18" name="Rectangle 17"/>
            <p:cNvSpPr/>
            <p:nvPr/>
          </p:nvSpPr>
          <p:spPr>
            <a:xfrm>
              <a:off x="3810000" y="2991535"/>
              <a:ext cx="3505200" cy="64633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r>
                <a:rPr lang="en-US" sz="1200" dirty="0" smtClean="0"/>
                <a:t>Don't add any content in red marked area. This area is blocked by the Next  and Back button and has some mobile touch jesters controls.</a:t>
              </a:r>
              <a:endParaRPr lang="en-US" sz="1200" dirty="0"/>
            </a:p>
          </p:txBody>
        </p:sp>
        <p:cxnSp>
          <p:nvCxnSpPr>
            <p:cNvPr id="50" name="Straight Arrow Connector 49"/>
            <p:cNvCxnSpPr/>
            <p:nvPr/>
          </p:nvCxnSpPr>
          <p:spPr>
            <a:xfrm flipH="1">
              <a:off x="2819400" y="3172840"/>
              <a:ext cx="990600" cy="0"/>
            </a:xfrm>
            <a:prstGeom prst="straightConnector1">
              <a:avLst/>
            </a:prstGeom>
            <a:ln w="22225">
              <a:solidFill>
                <a:srgbClr val="FF000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/>
            <p:nvPr/>
          </p:nvCxnSpPr>
          <p:spPr>
            <a:xfrm flipH="1">
              <a:off x="312738" y="3477640"/>
              <a:ext cx="3497262" cy="0"/>
            </a:xfrm>
            <a:prstGeom prst="straightConnector1">
              <a:avLst/>
            </a:prstGeom>
            <a:ln w="22225">
              <a:solidFill>
                <a:srgbClr val="FF000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Arrow Connector 55"/>
            <p:cNvCxnSpPr>
              <a:stCxn id="18" idx="3"/>
            </p:cNvCxnSpPr>
            <p:nvPr/>
          </p:nvCxnSpPr>
          <p:spPr>
            <a:xfrm>
              <a:off x="7315200" y="3314701"/>
              <a:ext cx="1295400" cy="10539"/>
            </a:xfrm>
            <a:prstGeom prst="straightConnector1">
              <a:avLst/>
            </a:prstGeom>
            <a:ln w="22225">
              <a:solidFill>
                <a:srgbClr val="FF000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Rectangle 59"/>
            <p:cNvSpPr/>
            <p:nvPr/>
          </p:nvSpPr>
          <p:spPr>
            <a:xfrm>
              <a:off x="3810000" y="4829784"/>
              <a:ext cx="3514928" cy="5334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The Content place below this Blue Line will be visible only when the user will scroll the page.</a:t>
              </a:r>
              <a:endParaRPr lang="en-US" sz="1200" dirty="0"/>
            </a:p>
          </p:txBody>
        </p:sp>
        <p:cxnSp>
          <p:nvCxnSpPr>
            <p:cNvPr id="62" name="Straight Arrow Connector 61"/>
            <p:cNvCxnSpPr>
              <a:stCxn id="60" idx="0"/>
            </p:cNvCxnSpPr>
            <p:nvPr/>
          </p:nvCxnSpPr>
          <p:spPr>
            <a:xfrm flipH="1" flipV="1">
              <a:off x="5562600" y="4296385"/>
              <a:ext cx="4864" cy="533399"/>
            </a:xfrm>
            <a:prstGeom prst="straightConnector1">
              <a:avLst/>
            </a:prstGeom>
            <a:ln w="22225">
              <a:solidFill>
                <a:srgbClr val="FF000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Elbow Connector 68"/>
            <p:cNvCxnSpPr>
              <a:stCxn id="60" idx="1"/>
            </p:cNvCxnSpPr>
            <p:nvPr/>
          </p:nvCxnSpPr>
          <p:spPr>
            <a:xfrm rot="10800000">
              <a:off x="1091120" y="4304488"/>
              <a:ext cx="2718881" cy="791996"/>
            </a:xfrm>
            <a:prstGeom prst="bentConnector2">
              <a:avLst/>
            </a:prstGeom>
            <a:ln w="22225">
              <a:solidFill>
                <a:srgbClr val="FF000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4" name="Action Button: Custom 83">
            <a:hlinkClick r:id="" action="ppaction://noaction" highlightClick="1"/>
          </p:cNvPr>
          <p:cNvSpPr/>
          <p:nvPr/>
        </p:nvSpPr>
        <p:spPr>
          <a:xfrm>
            <a:off x="2413723" y="1283854"/>
            <a:ext cx="394132" cy="5574145"/>
          </a:xfrm>
          <a:prstGeom prst="actionButtonBlank">
            <a:avLst/>
          </a:prstGeom>
          <a:solidFill>
            <a:srgbClr val="FF000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0"/>
          <p:cNvSpPr txBox="1">
            <a:spLocks/>
          </p:cNvSpPr>
          <p:nvPr/>
        </p:nvSpPr>
        <p:spPr>
          <a:xfrm>
            <a:off x="76200" y="2743200"/>
            <a:ext cx="8610600" cy="428625"/>
          </a:xfrm>
          <a:prstGeom prst="rect">
            <a:avLst/>
          </a:prstGeom>
        </p:spPr>
        <p:txBody>
          <a:bodyPr/>
          <a:lstStyle/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oryboard</a:t>
            </a:r>
            <a:r>
              <a:rPr kumimoji="0" lang="en-US" sz="32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Template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428743" y="1672230"/>
          <a:ext cx="1143000" cy="2208498"/>
        </p:xfrm>
        <a:graphic>
          <a:graphicData uri="http://schemas.openxmlformats.org/drawingml/2006/table">
            <a:tbl>
              <a:tblPr/>
              <a:tblGrid>
                <a:gridCol w="1143000"/>
              </a:tblGrid>
              <a:tr h="368083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Calibri"/>
                          <a:ea typeface="Calibri"/>
                          <a:cs typeface="Times New Roman"/>
                        </a:rPr>
                        <a:t>#009ce8</a:t>
                      </a:r>
                      <a:endParaRPr lang="en-US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368083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latin typeface="Calibri"/>
                          <a:ea typeface="Calibri"/>
                          <a:cs typeface="Times New Roman"/>
                        </a:rPr>
                        <a:t>#901b3d</a:t>
                      </a:r>
                      <a:endParaRPr lang="en-US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</a:tr>
              <a:tr h="368083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latin typeface="Calibri"/>
                          <a:ea typeface="Calibri"/>
                          <a:cs typeface="Times New Roman"/>
                        </a:rPr>
                        <a:t>#fecf21</a:t>
                      </a:r>
                      <a:endParaRPr lang="en-US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368083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Calibri"/>
                          <a:ea typeface="Calibri"/>
                          <a:cs typeface="Times New Roman"/>
                        </a:rPr>
                        <a:t>#7dbe38</a:t>
                      </a:r>
                      <a:endParaRPr lang="en-US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</a:tr>
              <a:tr h="368083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Calibri"/>
                          <a:ea typeface="Calibri"/>
                          <a:cs typeface="Times New Roman"/>
                        </a:rPr>
                        <a:t>#e33a22</a:t>
                      </a:r>
                      <a:endParaRPr lang="en-US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368083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Calibri"/>
                          <a:ea typeface="Calibri"/>
                          <a:cs typeface="Times New Roman"/>
                        </a:rPr>
                        <a:t>#de0079</a:t>
                      </a:r>
                      <a:endParaRPr lang="en-US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</a:tr>
            </a:tbl>
          </a:graphicData>
        </a:graphic>
      </p:graphicFrame>
      <p:sp>
        <p:nvSpPr>
          <p:cNvPr id="2050" name="Rectangle 2"/>
          <p:cNvSpPr>
            <a:spLocks noChangeArrowheads="1"/>
          </p:cNvSpPr>
          <p:nvPr/>
        </p:nvSpPr>
        <p:spPr bwMode="auto">
          <a:xfrm>
            <a:off x="1" y="43935"/>
            <a:ext cx="1847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2049" name="Picture 1" descr="cid:image001.jpg@01CE0452.A4036B80"/>
          <p:cNvPicPr>
            <a:picLocks noChangeAspect="1" noChangeArrowheads="1"/>
          </p:cNvPicPr>
          <p:nvPr/>
        </p:nvPicPr>
        <p:blipFill>
          <a:blip r:embed="rId2" r:link="rId3" cstate="print"/>
          <a:srcRect/>
          <a:stretch>
            <a:fillRect/>
          </a:stretch>
        </p:blipFill>
        <p:spPr bwMode="auto">
          <a:xfrm>
            <a:off x="1595287" y="1630459"/>
            <a:ext cx="2548848" cy="2245414"/>
          </a:xfrm>
          <a:prstGeom prst="rect">
            <a:avLst/>
          </a:prstGeom>
          <a:noFill/>
        </p:spPr>
      </p:pic>
      <p:sp>
        <p:nvSpPr>
          <p:cNvPr id="6" name="Rectangle 5"/>
          <p:cNvSpPr/>
          <p:nvPr/>
        </p:nvSpPr>
        <p:spPr>
          <a:xfrm>
            <a:off x="348263" y="1590702"/>
            <a:ext cx="3826172" cy="1550505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312739" y="1066800"/>
            <a:ext cx="365760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Provide the additional branding </a:t>
            </a:r>
          </a:p>
          <a:p>
            <a:r>
              <a:rPr lang="en-US" sz="13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Its Important to start the production)</a:t>
            </a:r>
            <a:endParaRPr lang="en-US" sz="1300" dirty="0">
              <a:solidFill>
                <a:schemeClr val="tx1">
                  <a:lumMod val="50000"/>
                  <a:lumOff val="50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378342" y="1079212"/>
            <a:ext cx="20024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Main UI Navigation  </a:t>
            </a:r>
            <a:endParaRPr lang="en-US" sz="1400" b="1" dirty="0"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4286451" y="895350"/>
            <a:ext cx="0" cy="584835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4378342" y="1612612"/>
            <a:ext cx="3867799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Menu  |  Help  |  Glossary  |  Job aids  |  etc..</a:t>
            </a:r>
            <a:endParaRPr lang="en-US" sz="1300" dirty="0"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>
            <a:off x="4293703" y="2590800"/>
            <a:ext cx="39715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4343400" y="2674947"/>
            <a:ext cx="4232258" cy="7540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Any additional Inputs for RMD or CI. </a:t>
            </a:r>
          </a:p>
          <a:p>
            <a:endParaRPr lang="en-US" sz="400" dirty="0" smtClean="0"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r>
              <a:rPr lang="en-US" sz="1300" dirty="0" smtClean="0">
                <a:solidFill>
                  <a:schemeClr val="bg1">
                    <a:lumMod val="50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xample: If there is any specific course which we need to look. Any previous references etc...</a:t>
            </a:r>
            <a:endParaRPr lang="en-US" sz="1300" dirty="0">
              <a:solidFill>
                <a:schemeClr val="bg1">
                  <a:lumMod val="50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440535" y="5039360"/>
            <a:ext cx="36668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Provide the colour code if its different from the List above.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graphicFrame>
        <p:nvGraphicFramePr>
          <p:cNvPr id="21" name="Table 20"/>
          <p:cNvGraphicFramePr>
            <a:graphicFrameLocks noGrp="1"/>
          </p:cNvGraphicFramePr>
          <p:nvPr/>
        </p:nvGraphicFramePr>
        <p:xfrm>
          <a:off x="417444" y="5420360"/>
          <a:ext cx="3699164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6800"/>
                <a:gridCol w="2632364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b="0" dirty="0" smtClean="0">
                          <a:solidFill>
                            <a:schemeClr val="tx1"/>
                          </a:solidFill>
                        </a:rPr>
                        <a:t>#</a:t>
                      </a:r>
                      <a:endParaRPr 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 smtClean="0">
                          <a:solidFill>
                            <a:schemeClr val="tx1"/>
                          </a:solidFill>
                        </a:rPr>
                        <a:t>Name if any</a:t>
                      </a:r>
                      <a:endParaRPr 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cxnSp>
        <p:nvCxnSpPr>
          <p:cNvPr id="26" name="Straight Connector 25"/>
          <p:cNvCxnSpPr/>
          <p:nvPr/>
        </p:nvCxnSpPr>
        <p:spPr>
          <a:xfrm>
            <a:off x="449771" y="4886960"/>
            <a:ext cx="3676073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4378342" y="1320224"/>
            <a:ext cx="38310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Add / Edit any UI navigation Buttons as required)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graphicFrame>
        <p:nvGraphicFramePr>
          <p:cNvPr id="18" name="Table 17"/>
          <p:cNvGraphicFramePr>
            <a:graphicFrameLocks noGrp="1"/>
          </p:cNvGraphicFramePr>
          <p:nvPr/>
        </p:nvGraphicFramePr>
        <p:xfrm>
          <a:off x="442141" y="3906520"/>
          <a:ext cx="3702478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02478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>
                          <a:solidFill>
                            <a:schemeClr val="bg1"/>
                          </a:solidFill>
                        </a:rPr>
                        <a:t>Capgemini  Branding guidelines</a:t>
                      </a:r>
                      <a:endParaRPr lang="en-US" sz="14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>
                          <a:solidFill>
                            <a:schemeClr val="tx1"/>
                          </a:solidFill>
                        </a:rPr>
                        <a:t>                          </a:t>
                      </a:r>
                      <a:r>
                        <a:rPr lang="en-US" sz="1400" b="0" dirty="0" err="1" smtClean="0">
                          <a:solidFill>
                            <a:schemeClr val="tx1"/>
                          </a:solidFill>
                        </a:rPr>
                        <a:t>Sogeti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</a:rPr>
                        <a:t> Branding guidelines</a:t>
                      </a:r>
                      <a:endParaRPr 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23554" name="Picture 2" descr="Sogeti Logo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13522" y="4322064"/>
            <a:ext cx="1219200" cy="276352"/>
          </a:xfrm>
          <a:prstGeom prst="rect">
            <a:avLst/>
          </a:prstGeom>
          <a:noFill/>
        </p:spPr>
      </p:pic>
      <p:sp>
        <p:nvSpPr>
          <p:cNvPr id="29" name="Rectangle 28"/>
          <p:cNvSpPr/>
          <p:nvPr/>
        </p:nvSpPr>
        <p:spPr>
          <a:xfrm>
            <a:off x="341244" y="3501888"/>
            <a:ext cx="3833191" cy="3356112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390419" y="1119884"/>
          <a:ext cx="3606230" cy="5411913"/>
        </p:xfrm>
        <a:graphic>
          <a:graphicData uri="http://schemas.openxmlformats.org/drawingml/2006/table">
            <a:tbl>
              <a:tblPr/>
              <a:tblGrid>
                <a:gridCol w="3114783"/>
                <a:gridCol w="491447"/>
              </a:tblGrid>
              <a:tr h="359596">
                <a:tc>
                  <a:txBody>
                    <a:bodyPr/>
                    <a:lstStyle/>
                    <a:p>
                      <a:pPr algn="l"/>
                      <a:r>
                        <a:rPr lang="en-US" sz="1300" dirty="0" smtClean="0"/>
                        <a:t>Page 1</a:t>
                      </a:r>
                      <a:endParaRPr lang="en-US" sz="1300" dirty="0"/>
                    </a:p>
                  </a:txBody>
                  <a:tcPr marT="0" marB="0" anchor="ctr"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&gt;</a:t>
                      </a:r>
                      <a:endParaRPr lang="en-US" sz="1300" dirty="0"/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959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 smtClean="0"/>
                        <a:t>Page 2</a:t>
                      </a:r>
                    </a:p>
                  </a:txBody>
                  <a:tcPr marT="0" marB="0" anchor="ctr"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&gt;</a:t>
                      </a:r>
                      <a:endParaRPr lang="en-US" sz="1300" dirty="0"/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959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 smtClean="0"/>
                        <a:t>Page 3</a:t>
                      </a:r>
                    </a:p>
                  </a:txBody>
                  <a:tcPr marT="0" marB="0" anchor="ctr"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&gt;</a:t>
                      </a:r>
                      <a:endParaRPr lang="en-US" sz="1300" dirty="0"/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959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 smtClean="0"/>
                        <a:t>Page 4</a:t>
                      </a:r>
                    </a:p>
                  </a:txBody>
                  <a:tcPr marT="0" marB="0" anchor="ctr"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3</a:t>
                      </a:r>
                      <a:endParaRPr lang="en-US" sz="1300" b="1" dirty="0"/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959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 smtClean="0"/>
                        <a:t>Page 5</a:t>
                      </a:r>
                    </a:p>
                  </a:txBody>
                  <a:tcPr marT="0" marB="0" anchor="ctr"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&gt;</a:t>
                      </a:r>
                      <a:endParaRPr lang="en-US" sz="1300" dirty="0"/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959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 smtClean="0"/>
                        <a:t>Page 6</a:t>
                      </a:r>
                    </a:p>
                  </a:txBody>
                  <a:tcPr marT="0" marB="0" anchor="ctr"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&gt;</a:t>
                      </a:r>
                      <a:endParaRPr lang="en-US" sz="1300" dirty="0"/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959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 smtClean="0"/>
                        <a:t>Page 7</a:t>
                      </a:r>
                    </a:p>
                  </a:txBody>
                  <a:tcPr marT="0" marB="0" anchor="ctr"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&gt;</a:t>
                      </a:r>
                      <a:endParaRPr lang="en-US" sz="1300" dirty="0"/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959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 smtClean="0"/>
                        <a:t>Page 8</a:t>
                      </a:r>
                    </a:p>
                  </a:txBody>
                  <a:tcPr marT="0" marB="0" anchor="ctr"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6</a:t>
                      </a:r>
                      <a:endParaRPr lang="en-US" sz="1300" b="1" dirty="0"/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959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 smtClean="0"/>
                        <a:t>Page 9</a:t>
                      </a:r>
                    </a:p>
                  </a:txBody>
                  <a:tcPr marT="0" marB="0" anchor="ctr"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&gt;</a:t>
                      </a:r>
                      <a:endParaRPr lang="en-US" sz="1300" dirty="0"/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959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 smtClean="0"/>
                        <a:t>Page 10</a:t>
                      </a:r>
                    </a:p>
                  </a:txBody>
                  <a:tcPr marT="0" marB="0" anchor="ctr"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2</a:t>
                      </a:r>
                      <a:endParaRPr lang="en-US" sz="1300" dirty="0"/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959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 smtClean="0"/>
                        <a:t>Page 11</a:t>
                      </a:r>
                      <a:endParaRPr lang="en-US" sz="1300" dirty="0"/>
                    </a:p>
                  </a:txBody>
                  <a:tcPr marT="0" marB="0" anchor="ctr"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1</a:t>
                      </a:r>
                      <a:endParaRPr lang="en-US" sz="1300" b="1" dirty="0"/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959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 smtClean="0"/>
                        <a:t>Page 12</a:t>
                      </a:r>
                      <a:endParaRPr lang="en-US" sz="1300" dirty="0"/>
                    </a:p>
                  </a:txBody>
                  <a:tcPr marT="0" marB="0" anchor="ctr"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&gt;</a:t>
                      </a:r>
                      <a:endParaRPr lang="en-US" sz="1300" dirty="0"/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9596">
                <a:tc>
                  <a:txBody>
                    <a:bodyPr/>
                    <a:lstStyle/>
                    <a:p>
                      <a:pPr algn="l"/>
                      <a:r>
                        <a:rPr lang="en-US" sz="1300" dirty="0" smtClean="0"/>
                        <a:t>Page 13</a:t>
                      </a:r>
                      <a:endParaRPr lang="en-US" sz="1300" dirty="0"/>
                    </a:p>
                  </a:txBody>
                  <a:tcPr marT="0" marB="0" anchor="ctr"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&gt;</a:t>
                      </a:r>
                      <a:endParaRPr lang="en-US" sz="1300" dirty="0"/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7569">
                <a:tc>
                  <a:txBody>
                    <a:bodyPr/>
                    <a:lstStyle/>
                    <a:p>
                      <a:pPr algn="l"/>
                      <a:r>
                        <a:rPr lang="en-US" sz="1300" dirty="0" smtClean="0"/>
                        <a:t>Page 14</a:t>
                      </a:r>
                      <a:endParaRPr lang="en-US" sz="1300" dirty="0"/>
                    </a:p>
                  </a:txBody>
                  <a:tcPr marT="0" marB="0" anchor="ctr"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&gt;</a:t>
                      </a:r>
                      <a:endParaRPr lang="en-US" sz="1300" dirty="0"/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9596">
                <a:tc>
                  <a:txBody>
                    <a:bodyPr/>
                    <a:lstStyle/>
                    <a:p>
                      <a:pPr algn="l"/>
                      <a:r>
                        <a:rPr lang="en-US" sz="1300" dirty="0" smtClean="0"/>
                        <a:t>Page 15</a:t>
                      </a:r>
                      <a:endParaRPr lang="en-US" sz="1300" dirty="0"/>
                    </a:p>
                  </a:txBody>
                  <a:tcPr marT="0" marB="0" anchor="ctr"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10</a:t>
                      </a:r>
                      <a:endParaRPr lang="en-US" sz="1300" b="1" dirty="0"/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9" name="Line Callout 3 8"/>
          <p:cNvSpPr/>
          <p:nvPr/>
        </p:nvSpPr>
        <p:spPr>
          <a:xfrm>
            <a:off x="4724400" y="1956999"/>
            <a:ext cx="3821987" cy="1292662"/>
          </a:xfrm>
          <a:prstGeom prst="borderCallout3">
            <a:avLst>
              <a:gd name="adj1" fmla="val 17957"/>
              <a:gd name="adj2" fmla="val 1375"/>
              <a:gd name="adj3" fmla="val 26150"/>
              <a:gd name="adj4" fmla="val -9282"/>
              <a:gd name="adj5" fmla="val 128349"/>
              <a:gd name="adj6" fmla="val -12312"/>
              <a:gd name="adj7" fmla="val 148124"/>
              <a:gd name="adj8" fmla="val -2030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300" dirty="0" smtClean="0"/>
              <a:t>1. Page 1 </a:t>
            </a:r>
          </a:p>
          <a:p>
            <a:r>
              <a:rPr lang="en-US" sz="1300" dirty="0" smtClean="0"/>
              <a:t>2. Page 2</a:t>
            </a:r>
          </a:p>
          <a:p>
            <a:r>
              <a:rPr lang="en-US" sz="1300" dirty="0" smtClean="0"/>
              <a:t>3. Page 3</a:t>
            </a:r>
          </a:p>
          <a:p>
            <a:r>
              <a:rPr lang="en-US" sz="1300" dirty="0" smtClean="0"/>
              <a:t>4. Page 4</a:t>
            </a:r>
          </a:p>
          <a:p>
            <a:r>
              <a:rPr lang="en-US" sz="1300" dirty="0" smtClean="0"/>
              <a:t>5. Page 5</a:t>
            </a:r>
          </a:p>
          <a:p>
            <a:r>
              <a:rPr lang="en-US" sz="1300" dirty="0" smtClean="0"/>
              <a:t>6. Page 6</a:t>
            </a:r>
            <a:endParaRPr lang="en-US" sz="1300" dirty="0"/>
          </a:p>
        </p:txBody>
      </p:sp>
      <p:sp>
        <p:nvSpPr>
          <p:cNvPr id="10" name="Line Callout 3 9"/>
          <p:cNvSpPr/>
          <p:nvPr/>
        </p:nvSpPr>
        <p:spPr>
          <a:xfrm>
            <a:off x="4724400" y="1066801"/>
            <a:ext cx="3821987" cy="692497"/>
          </a:xfrm>
          <a:prstGeom prst="borderCallout3">
            <a:avLst>
              <a:gd name="adj1" fmla="val 17957"/>
              <a:gd name="adj2" fmla="val 1375"/>
              <a:gd name="adj3" fmla="val 26150"/>
              <a:gd name="adj4" fmla="val -9282"/>
              <a:gd name="adj5" fmla="val 181760"/>
              <a:gd name="adj6" fmla="val -14194"/>
              <a:gd name="adj7" fmla="val 197084"/>
              <a:gd name="adj8" fmla="val -2165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300" dirty="0" smtClean="0"/>
              <a:t>1. Page 1 </a:t>
            </a:r>
          </a:p>
          <a:p>
            <a:r>
              <a:rPr lang="en-US" sz="1300" dirty="0" smtClean="0"/>
              <a:t>2. Page 2</a:t>
            </a:r>
          </a:p>
          <a:p>
            <a:r>
              <a:rPr lang="en-US" sz="1300" dirty="0" smtClean="0"/>
              <a:t>3. Page 3</a:t>
            </a:r>
            <a:endParaRPr lang="en-US" sz="1300" dirty="0"/>
          </a:p>
        </p:txBody>
      </p:sp>
      <p:sp>
        <p:nvSpPr>
          <p:cNvPr id="11" name="Line Callout 3 10"/>
          <p:cNvSpPr/>
          <p:nvPr/>
        </p:nvSpPr>
        <p:spPr>
          <a:xfrm>
            <a:off x="4721831" y="3445266"/>
            <a:ext cx="3821987" cy="292388"/>
          </a:xfrm>
          <a:prstGeom prst="borderCallout3">
            <a:avLst>
              <a:gd name="adj1" fmla="val 17957"/>
              <a:gd name="adj2" fmla="val 1375"/>
              <a:gd name="adj3" fmla="val 50747"/>
              <a:gd name="adj4" fmla="val -6056"/>
              <a:gd name="adj5" fmla="val 465723"/>
              <a:gd name="adj6" fmla="val -13119"/>
              <a:gd name="adj7" fmla="val 498675"/>
              <a:gd name="adj8" fmla="val -2057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300" dirty="0" smtClean="0"/>
              <a:t>1. Page 1</a:t>
            </a:r>
            <a:endParaRPr lang="en-US" sz="1300" dirty="0"/>
          </a:p>
        </p:txBody>
      </p:sp>
      <p:sp>
        <p:nvSpPr>
          <p:cNvPr id="12" name="Line Callout 3 11"/>
          <p:cNvSpPr/>
          <p:nvPr/>
        </p:nvSpPr>
        <p:spPr>
          <a:xfrm>
            <a:off x="4721831" y="3926920"/>
            <a:ext cx="3821987" cy="2092881"/>
          </a:xfrm>
          <a:prstGeom prst="borderCallout3">
            <a:avLst>
              <a:gd name="adj1" fmla="val 17957"/>
              <a:gd name="adj2" fmla="val 1375"/>
              <a:gd name="adj3" fmla="val 26150"/>
              <a:gd name="adj4" fmla="val -5519"/>
              <a:gd name="adj5" fmla="val 108433"/>
              <a:gd name="adj6" fmla="val -12312"/>
              <a:gd name="adj7" fmla="val 115023"/>
              <a:gd name="adj8" fmla="val -2030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300" dirty="0" smtClean="0"/>
              <a:t>1. Page 1 </a:t>
            </a:r>
          </a:p>
          <a:p>
            <a:r>
              <a:rPr lang="en-US" sz="1300" dirty="0" smtClean="0"/>
              <a:t>2. Page 2</a:t>
            </a:r>
          </a:p>
          <a:p>
            <a:r>
              <a:rPr lang="en-US" sz="1300" dirty="0" smtClean="0"/>
              <a:t>3. Page 3</a:t>
            </a:r>
          </a:p>
          <a:p>
            <a:r>
              <a:rPr lang="en-US" sz="1300" dirty="0" smtClean="0"/>
              <a:t>4. Page 4</a:t>
            </a:r>
          </a:p>
          <a:p>
            <a:r>
              <a:rPr lang="en-US" sz="1300" dirty="0" smtClean="0"/>
              <a:t>5. Page 5</a:t>
            </a:r>
          </a:p>
          <a:p>
            <a:r>
              <a:rPr lang="en-US" sz="1300" dirty="0" smtClean="0"/>
              <a:t>6. Page 6</a:t>
            </a:r>
          </a:p>
          <a:p>
            <a:r>
              <a:rPr lang="en-US" sz="1300" dirty="0" smtClean="0"/>
              <a:t>7. Page 7</a:t>
            </a:r>
          </a:p>
          <a:p>
            <a:r>
              <a:rPr lang="en-US" sz="1300" dirty="0" smtClean="0"/>
              <a:t>8. Page 8</a:t>
            </a:r>
          </a:p>
          <a:p>
            <a:r>
              <a:rPr lang="en-US" sz="1300" dirty="0" smtClean="0"/>
              <a:t>9. Page 9</a:t>
            </a:r>
          </a:p>
          <a:p>
            <a:r>
              <a:rPr lang="en-US" sz="1300" dirty="0" smtClean="0"/>
              <a:t>10. Page 10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Menu</a:t>
            </a:r>
            <a:endParaRPr lang="en-US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3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1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76</TotalTime>
  <Words>448</Words>
  <Application>Microsoft Office PowerPoint</Application>
  <PresentationFormat>On-screen Show (4:3)</PresentationFormat>
  <Paragraphs>103</Paragraphs>
  <Slides>21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21</vt:i4>
      </vt:variant>
    </vt:vector>
  </HeadingPairs>
  <TitlesOfParts>
    <vt:vector size="24" baseType="lpstr">
      <vt:lpstr>Custom Design</vt:lpstr>
      <vt:lpstr>1_Custom Design</vt:lpstr>
      <vt:lpstr>Office Theme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  <vt:lpstr>Slide 19</vt:lpstr>
      <vt:lpstr>Slide 20</vt:lpstr>
      <vt:lpstr>Slide 21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wnikam</dc:creator>
  <cp:lastModifiedBy>shrsuman</cp:lastModifiedBy>
  <cp:revision>247</cp:revision>
  <dcterms:created xsi:type="dcterms:W3CDTF">2015-04-21T04:29:39Z</dcterms:created>
  <dcterms:modified xsi:type="dcterms:W3CDTF">2015-08-24T06:50:15Z</dcterms:modified>
</cp:coreProperties>
</file>